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</p:sldMasterIdLst>
  <p:notesMasterIdLst>
    <p:notesMasterId r:id="rId25"/>
  </p:notesMasterIdLst>
  <p:sldIdLst>
    <p:sldId id="352" r:id="rId2"/>
    <p:sldId id="353" r:id="rId3"/>
    <p:sldId id="364" r:id="rId4"/>
    <p:sldId id="367" r:id="rId5"/>
    <p:sldId id="365" r:id="rId6"/>
    <p:sldId id="377" r:id="rId7"/>
    <p:sldId id="366" r:id="rId8"/>
    <p:sldId id="368" r:id="rId9"/>
    <p:sldId id="378" r:id="rId10"/>
    <p:sldId id="369" r:id="rId11"/>
    <p:sldId id="383" r:id="rId12"/>
    <p:sldId id="370" r:id="rId13"/>
    <p:sldId id="371" r:id="rId14"/>
    <p:sldId id="376" r:id="rId15"/>
    <p:sldId id="380" r:id="rId16"/>
    <p:sldId id="381" r:id="rId17"/>
    <p:sldId id="374" r:id="rId18"/>
    <p:sldId id="379" r:id="rId19"/>
    <p:sldId id="372" r:id="rId20"/>
    <p:sldId id="373" r:id="rId21"/>
    <p:sldId id="382" r:id="rId22"/>
    <p:sldId id="375" r:id="rId23"/>
    <p:sldId id="363" r:id="rId2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wallrich" initials="lw" lastIdx="1" clrIdx="0">
    <p:extLst>
      <p:ext uri="{19B8F6BF-5375-455C-9EA6-DF929625EA0E}">
        <p15:presenceInfo xmlns:p15="http://schemas.microsoft.com/office/powerpoint/2012/main" userId="9cc34b299f979c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549" autoAdjust="0"/>
    <p:restoredTop sz="75102" autoAdjust="0"/>
  </p:normalViewPr>
  <p:slideViewPr>
    <p:cSldViewPr snapToGrid="0">
      <p:cViewPr varScale="1">
        <p:scale>
          <a:sx n="94" d="100"/>
          <a:sy n="94" d="100"/>
        </p:scale>
        <p:origin x="91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uardian.com/science/2017/jun/27/profitable-business-scientific-publishing-bad-for-science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54221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ame time: increasing student numbers &amp; increasing workload for academ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1723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 sure about compliance – and obviously this does not apply to data you own/work that you have copyright over … but might be an inspi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03686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 err="1"/>
              <a:t>PsyArXiv</a:t>
            </a:r>
            <a:r>
              <a:rPr lang="en-GB" sz="1200" dirty="0"/>
              <a:t> - </a:t>
            </a:r>
            <a:r>
              <a:rPr lang="en-GB" dirty="0"/>
              <a:t>Now on Google Schol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94817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664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92371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ccessible</a:t>
            </a:r>
          </a:p>
          <a:p>
            <a:r>
              <a:rPr lang="en-GB" dirty="0"/>
              <a:t>Free</a:t>
            </a:r>
          </a:p>
          <a:p>
            <a:r>
              <a:rPr lang="en-GB" b="1" dirty="0"/>
              <a:t>Transpar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5779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ix of problematic research practices, misunderstandings, and wrong motivations 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9908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/3 reproducible</a:t>
            </a:r>
          </a:p>
          <a:p>
            <a:r>
              <a:rPr lang="en-US" dirty="0"/>
              <a:t>Average effect size: ½ of original effect size</a:t>
            </a:r>
          </a:p>
          <a:p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www.science.org</a:t>
            </a:r>
            <a:r>
              <a:rPr lang="en-US" dirty="0"/>
              <a:t>/</a:t>
            </a:r>
            <a:r>
              <a:rPr lang="en-US" dirty="0" err="1"/>
              <a:t>doi</a:t>
            </a:r>
            <a:r>
              <a:rPr lang="en-US" dirty="0"/>
              <a:t>/10.1126/science.aac47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6280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www.theguardian.com/science/2017/jun/27/profitable-business-scientific-publishing-bad-for-science</a:t>
            </a:r>
            <a:endParaRPr lang="en-GB" dirty="0"/>
          </a:p>
          <a:p>
            <a:endParaRPr lang="en-GB" dirty="0"/>
          </a:p>
          <a:p>
            <a:r>
              <a:rPr lang="en-GB" dirty="0"/>
              <a:t>Good assessment of Elsevier’s market position by a business analyst: </a:t>
            </a:r>
          </a:p>
          <a:p>
            <a:r>
              <a:rPr lang="en-GB" dirty="0"/>
              <a:t>https://</a:t>
            </a:r>
            <a:r>
              <a:rPr lang="en-GB" dirty="0" err="1"/>
              <a:t>infrastructure.sparcopen.org</a:t>
            </a:r>
            <a:r>
              <a:rPr lang="en-GB" dirty="0"/>
              <a:t>/landscape-analysis/</a:t>
            </a:r>
            <a:r>
              <a:rPr lang="en-GB" dirty="0" err="1"/>
              <a:t>elsevier</a:t>
            </a:r>
            <a:r>
              <a:rPr lang="en-GB" dirty="0"/>
              <a:t>#:~:text=Elsevier%20operates%20at%20a%2037,operates%20at%20a%2023%25%20marg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53786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3865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-authored by a Nobel prize winning economist – who now (plausibly) suggests that he can’t audit all data</a:t>
            </a:r>
          </a:p>
          <a:p>
            <a:r>
              <a:rPr lang="en-US" dirty="0"/>
              <a:t>Cited 500 times, retracted a decade la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38640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ol for transparency – plans can and will change, but needs to be record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03487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921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1517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4078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79183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41395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1467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179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57516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30972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17068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3787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8721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6.svg"/><Relationship Id="rId3" Type="http://schemas.openxmlformats.org/officeDocument/2006/relationships/tags" Target="../tags/tag3.xml"/><Relationship Id="rId7" Type="http://schemas.openxmlformats.org/officeDocument/2006/relationships/hyperlink" Target="mailto:l.wallrich@bbk.ac.uk" TargetMode="External"/><Relationship Id="rId12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jpg"/><Relationship Id="rId11" Type="http://schemas.openxmlformats.org/officeDocument/2006/relationships/image" Target="../media/image4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beta.ukdataservice.ac.uk/datacatalogue/studies/study?id=855919" TargetMode="External"/><Relationship Id="rId2" Type="http://schemas.openxmlformats.org/officeDocument/2006/relationships/hyperlink" Target="https://ukdataservice.ac.uk/learning-hub/research-data-management/anonymisation/anonymising-qualitative-data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hyperlink" Target="https://bit.ly/syst-reviews" TargetMode="Externa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3.png"/><Relationship Id="rId9" Type="http://schemas.openxmlformats.org/officeDocument/2006/relationships/image" Target="../media/image6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6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hyperlink" Target="https://commonslibrary.parliament.uk/research-briefings/sn01079/" TargetMode="Externa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bk.ac.uk/about-us/policies/open-access-research" TargetMode="External"/><Relationship Id="rId7" Type="http://schemas.openxmlformats.org/officeDocument/2006/relationships/image" Target="../media/image6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26.png"/><Relationship Id="rId4" Type="http://schemas.openxmlformats.org/officeDocument/2006/relationships/image" Target="../media/image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6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6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hyperlink" Target="https://www.economist.com/graphic-detail/2021/08/20/a-study-on-dishonesty-was-based-on-fraudulent-data" TargetMode="External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hyperlink" Target="http://datacolada.org/98" TargetMode="External"/><Relationship Id="rId9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wall, brick, stone, rock&#10;&#10;Description automatically generated">
            <a:extLst>
              <a:ext uri="{FF2B5EF4-FFF2-40B4-BE49-F238E27FC236}">
                <a16:creationId xmlns:a16="http://schemas.microsoft.com/office/drawing/2014/main" id="{FD684D85-4D82-C2F8-913E-F674A518D6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53"/>
            <a:ext cx="12192000" cy="8128000"/>
          </a:xfrm>
          <a:prstGeom prst="rect">
            <a:avLst/>
          </a:prstGeom>
        </p:spPr>
      </p:pic>
      <p:sp>
        <p:nvSpPr>
          <p:cNvPr id="6150" name="Rectangle 1">
            <a:extLst>
              <a:ext uri="{FF2B5EF4-FFF2-40B4-BE49-F238E27FC236}">
                <a16:creationId xmlns:a16="http://schemas.microsoft.com/office/drawing/2014/main" id="{5A104DF4-EFFD-4F0F-B936-939C0527B9C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-3259"/>
            <a:ext cx="12192000" cy="746804"/>
          </a:xfrm>
          <a:prstGeom prst="rect">
            <a:avLst/>
          </a:prstGeom>
          <a:solidFill>
            <a:schemeClr val="accent6">
              <a:lumMod val="75000"/>
              <a:alpha val="74117"/>
            </a:schemeClr>
          </a:solidFill>
          <a:ln>
            <a:noFill/>
          </a:ln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algn="r" defTabSz="914400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24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Lukas Wallrich (</a:t>
            </a:r>
            <a:r>
              <a:rPr lang="en-US" altLang="en-US" sz="24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7"/>
              </a:rPr>
              <a:t>l.wallrich@bbk.ac.uk</a:t>
            </a:r>
            <a:r>
              <a:rPr lang="en-US" altLang="en-US" sz="24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                                  </a:t>
            </a:r>
            <a:r>
              <a:rPr lang="en-US" altLang="en-US" sz="1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en-US" altLang="en-US" sz="100" b="1" dirty="0">
              <a:solidFill>
                <a:srgbClr val="333399"/>
              </a:solidFill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1264" y="2204863"/>
            <a:ext cx="6558974" cy="3121879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algn="ctr" defTabSz="914400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5200" b="1" dirty="0">
                <a:solidFill>
                  <a:srgbClr val="C00000"/>
                </a:solidFill>
              </a:rPr>
              <a:t>Open Science</a:t>
            </a:r>
          </a:p>
          <a:p>
            <a:pPr algn="ctr" defTabSz="914400" eaLnBrk="0" fontAlgn="base" hangingPunct="0">
              <a:spcAft>
                <a:spcPct val="0"/>
              </a:spcAft>
              <a:buNone/>
              <a:defRPr/>
            </a:pPr>
            <a:endParaRPr lang="en-US" altLang="en-US" sz="3600" b="1" dirty="0">
              <a:solidFill>
                <a:srgbClr val="C00000"/>
              </a:solidFill>
            </a:endParaRPr>
          </a:p>
          <a:p>
            <a:pPr algn="ctr" defTabSz="914400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3600" b="1" dirty="0">
                <a:solidFill>
                  <a:srgbClr val="002060"/>
                </a:solidFill>
              </a:rPr>
              <a:t>Why do we need it?</a:t>
            </a:r>
          </a:p>
          <a:p>
            <a:pPr algn="ctr" defTabSz="914400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3600" b="1" dirty="0">
                <a:solidFill>
                  <a:srgbClr val="002060"/>
                </a:solidFill>
              </a:rPr>
              <a:t>How can you get involved?</a:t>
            </a:r>
          </a:p>
        </p:txBody>
      </p:sp>
      <p:pic>
        <p:nvPicPr>
          <p:cNvPr id="2103" name="Picture 55" descr="image">
            <a:extLst>
              <a:ext uri="{FF2B5EF4-FFF2-40B4-BE49-F238E27FC236}">
                <a16:creationId xmlns:a16="http://schemas.microsoft.com/office/drawing/2014/main" id="{2514B67B-0BBC-403B-B9F9-D919620018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9" name="Picture 61" descr="Tate Harmer appointed by Birkbeck University of London - Tate + Co">
            <a:extLst>
              <a:ext uri="{FF2B5EF4-FFF2-40B4-BE49-F238E27FC236}">
                <a16:creationId xmlns:a16="http://schemas.microsoft.com/office/drawing/2014/main" id="{6C567511-64A5-7777-ACEF-0B1BA9FE06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1223" y="11253"/>
            <a:ext cx="2400777" cy="746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amera 4">
            <a:extLst>
              <a:ext uri="{FF2B5EF4-FFF2-40B4-BE49-F238E27FC236}">
                <a16:creationId xmlns:a16="http://schemas.microsoft.com/office/drawing/2014/main" id="{2C60A08D-9D20-FE92-3373-F92C01893C43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341058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884"/>
    </mc:Choice>
    <mc:Fallback xmlns="">
      <p:transition spd="slow" advTm="12884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64C8B-975C-4BED-AA32-6DB20FD25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berate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9EAE17-91E6-439D-BAEF-7FFBE8C377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77755"/>
            <a:ext cx="10515600" cy="4893228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Publish data alongside articles</a:t>
            </a:r>
          </a:p>
          <a:p>
            <a:pPr lvl="1"/>
            <a:r>
              <a:rPr lang="en-GB" dirty="0"/>
              <a:t>Required by many top journals</a:t>
            </a:r>
          </a:p>
          <a:p>
            <a:pPr lvl="1"/>
            <a:r>
              <a:rPr lang="en-GB" dirty="0"/>
              <a:t>Allows for reproduction</a:t>
            </a:r>
          </a:p>
          <a:p>
            <a:pPr lvl="1"/>
            <a:r>
              <a:rPr lang="en-GB" dirty="0"/>
              <a:t>Allows for secondary analyses</a:t>
            </a:r>
          </a:p>
          <a:p>
            <a:endParaRPr lang="en-GB" dirty="0"/>
          </a:p>
          <a:p>
            <a:r>
              <a:rPr lang="en-GB" dirty="0"/>
              <a:t>Publish data that is not written up</a:t>
            </a:r>
            <a:br>
              <a:rPr lang="en-GB" dirty="0"/>
            </a:br>
            <a:r>
              <a:rPr lang="en-GB" dirty="0"/>
              <a:t>(e.g., null-findings in file drawer)</a:t>
            </a:r>
          </a:p>
          <a:p>
            <a:pPr lvl="1"/>
            <a:r>
              <a:rPr lang="en-GB" dirty="0"/>
              <a:t>Significant results more likely to get</a:t>
            </a:r>
            <a:br>
              <a:rPr lang="en-GB" dirty="0"/>
            </a:br>
            <a:r>
              <a:rPr lang="en-GB" dirty="0"/>
              <a:t>published, which biases the literature</a:t>
            </a:r>
          </a:p>
          <a:p>
            <a:pPr lvl="1"/>
            <a:r>
              <a:rPr lang="en-GB" dirty="0"/>
              <a:t>Initiatives to change that (e.g., </a:t>
            </a:r>
            <a:br>
              <a:rPr lang="en-GB" dirty="0"/>
            </a:br>
            <a:r>
              <a:rPr lang="en-GB" dirty="0"/>
              <a:t>Registered Reports) but unlikely to </a:t>
            </a:r>
            <a:br>
              <a:rPr lang="en-GB" dirty="0"/>
            </a:br>
            <a:r>
              <a:rPr lang="en-GB" dirty="0"/>
              <a:t>close the gap entirely</a:t>
            </a:r>
          </a:p>
          <a:p>
            <a:pPr lvl="1"/>
            <a:r>
              <a:rPr lang="en-GB" dirty="0"/>
              <a:t>Publishing documented data easy first step </a:t>
            </a:r>
            <a:br>
              <a:rPr lang="en-GB" dirty="0"/>
            </a:br>
            <a:r>
              <a:rPr lang="en-GB" dirty="0"/>
              <a:t>to make null-results available</a:t>
            </a:r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80B0F4A7-ADC4-4A2C-A55F-1046BF122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amera 4">
            <a:extLst>
              <a:ext uri="{FF2B5EF4-FFF2-40B4-BE49-F238E27FC236}">
                <a16:creationId xmlns:a16="http://schemas.microsoft.com/office/drawing/2014/main" id="{78848C83-FBC6-3DF2-761E-0D2FE5BFD997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473991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DE9296-7D29-994A-C195-155A7ECA3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qualitative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262BF7-4E48-9643-D876-1EFF71C638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7"/>
            <a:ext cx="10515600" cy="4802187"/>
          </a:xfrm>
        </p:spPr>
        <p:txBody>
          <a:bodyPr>
            <a:normAutofit/>
          </a:bodyPr>
          <a:lstStyle/>
          <a:p>
            <a:r>
              <a:rPr lang="en-US" dirty="0"/>
              <a:t>Likely even greater reuse potential</a:t>
            </a:r>
            <a:br>
              <a:rPr lang="en-US" dirty="0"/>
            </a:br>
            <a:r>
              <a:rPr lang="en-US" dirty="0"/>
              <a:t>than for most quantitative data – e.g.,</a:t>
            </a:r>
            <a:br>
              <a:rPr lang="en-US" dirty="0"/>
            </a:br>
            <a:r>
              <a:rPr lang="en-US" dirty="0"/>
              <a:t>different methodology, triangulation</a:t>
            </a:r>
          </a:p>
          <a:p>
            <a:endParaRPr lang="en-US" dirty="0"/>
          </a:p>
          <a:p>
            <a:r>
              <a:rPr lang="en-US" dirty="0"/>
              <a:t>Potentially harder to </a:t>
            </a:r>
            <a:r>
              <a:rPr lang="en-US" dirty="0" err="1"/>
              <a:t>anonymise</a:t>
            </a:r>
            <a:r>
              <a:rPr lang="en-US" dirty="0"/>
              <a:t> – </a:t>
            </a:r>
            <a:br>
              <a:rPr lang="en-US" dirty="0"/>
            </a:br>
            <a:r>
              <a:rPr lang="en-US" dirty="0"/>
              <a:t>but possible, and good guidance exists</a:t>
            </a:r>
          </a:p>
          <a:p>
            <a:endParaRPr lang="en-US" dirty="0"/>
          </a:p>
          <a:p>
            <a:r>
              <a:rPr lang="en-US" dirty="0"/>
              <a:t>Check UK Data Service for </a:t>
            </a:r>
            <a:r>
              <a:rPr lang="en-US" dirty="0">
                <a:hlinkClick r:id="rId2"/>
              </a:rPr>
              <a:t>guidance</a:t>
            </a:r>
            <a:br>
              <a:rPr lang="en-US" dirty="0"/>
            </a:br>
            <a:r>
              <a:rPr lang="en-US" dirty="0"/>
              <a:t>and examples, e.g., </a:t>
            </a:r>
            <a:r>
              <a:rPr lang="en-US" dirty="0">
                <a:hlinkClick r:id="rId3"/>
              </a:rPr>
              <a:t>on dress codes </a:t>
            </a:r>
            <a:br>
              <a:rPr lang="en-US" dirty="0">
                <a:hlinkClick r:id="rId3"/>
              </a:rPr>
            </a:br>
            <a:r>
              <a:rPr lang="en-US" dirty="0">
                <a:hlinkClick r:id="rId3"/>
              </a:rPr>
              <a:t>at work</a:t>
            </a:r>
            <a:endParaRPr lang="en-US" dirty="0"/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9C722333-DA9D-D7C5-28D5-7DAC6938C8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amera 4">
            <a:extLst>
              <a:ext uri="{FF2B5EF4-FFF2-40B4-BE49-F238E27FC236}">
                <a16:creationId xmlns:a16="http://schemas.microsoft.com/office/drawing/2014/main" id="{DA1B6693-2E3C-1DEB-5BA5-5615B4EC11C7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307885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B2E15A-EB51-44A1-9CDE-255A9C8E2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pen methods &amp; open pro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0A9A6-0446-444C-9601-AC1FE9F486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049617" cy="4351338"/>
          </a:xfrm>
        </p:spPr>
        <p:txBody>
          <a:bodyPr/>
          <a:lstStyle/>
          <a:p>
            <a:r>
              <a:rPr lang="en-GB" dirty="0"/>
              <a:t>Science takes place in </a:t>
            </a:r>
            <a:br>
              <a:rPr lang="en-GB" dirty="0"/>
            </a:br>
            <a:r>
              <a:rPr lang="en-GB" dirty="0"/>
              <a:t>“a garden of forking paths” </a:t>
            </a:r>
            <a:br>
              <a:rPr lang="en-GB" dirty="0"/>
            </a:br>
            <a:r>
              <a:rPr lang="en-GB" dirty="0"/>
              <a:t>(Gelman &amp; </a:t>
            </a:r>
            <a:r>
              <a:rPr lang="en-GB" dirty="0" err="1"/>
              <a:t>Loken</a:t>
            </a:r>
            <a:r>
              <a:rPr lang="en-GB" dirty="0"/>
              <a:t>, 2014)</a:t>
            </a:r>
          </a:p>
          <a:p>
            <a:endParaRPr lang="en-GB" dirty="0"/>
          </a:p>
          <a:p>
            <a:r>
              <a:rPr lang="en-GB" dirty="0" err="1"/>
              <a:t>Silberzahn</a:t>
            </a:r>
            <a:r>
              <a:rPr lang="en-GB" dirty="0"/>
              <a:t> et al. (2018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B8DFDA-322F-44BF-B0CB-D528BD9EB1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377" y="4089125"/>
            <a:ext cx="5619657" cy="1695449"/>
          </a:xfrm>
          <a:prstGeom prst="rect">
            <a:avLst/>
          </a:prstGeom>
        </p:spPr>
      </p:pic>
      <p:pic>
        <p:nvPicPr>
          <p:cNvPr id="5" name="Picture 55" descr="image">
            <a:extLst>
              <a:ext uri="{FF2B5EF4-FFF2-40B4-BE49-F238E27FC236}">
                <a16:creationId xmlns:a16="http://schemas.microsoft.com/office/drawing/2014/main" id="{4DCF1A93-26FC-4823-8985-387A7FE03E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Camera 5">
            <a:extLst>
              <a:ext uri="{FF2B5EF4-FFF2-40B4-BE49-F238E27FC236}">
                <a16:creationId xmlns:a16="http://schemas.microsoft.com/office/drawing/2014/main" id="{19A549A9-6DD6-5DD5-9132-C7B13486DDB4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645954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B2E15A-EB51-44A1-9CDE-255A9C8E2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pen methods &amp; open pro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0A9A6-0446-444C-9601-AC1FE9F486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7085"/>
            <a:ext cx="6049617" cy="5032375"/>
          </a:xfrm>
        </p:spPr>
        <p:txBody>
          <a:bodyPr>
            <a:normAutofit lnSpcReduction="10000"/>
          </a:bodyPr>
          <a:lstStyle/>
          <a:p>
            <a:r>
              <a:rPr lang="en-GB" dirty="0"/>
              <a:t>Science takes place in </a:t>
            </a:r>
            <a:br>
              <a:rPr lang="en-GB" dirty="0"/>
            </a:br>
            <a:r>
              <a:rPr lang="en-GB" dirty="0"/>
              <a:t>“a garden of forking paths” </a:t>
            </a:r>
            <a:br>
              <a:rPr lang="en-GB" dirty="0"/>
            </a:br>
            <a:r>
              <a:rPr lang="en-GB" dirty="0"/>
              <a:t>(Gelman &amp; </a:t>
            </a:r>
            <a:r>
              <a:rPr lang="en-GB" dirty="0" err="1"/>
              <a:t>Loken</a:t>
            </a:r>
            <a:r>
              <a:rPr lang="en-GB" dirty="0"/>
              <a:t>, 2014)</a:t>
            </a:r>
          </a:p>
          <a:p>
            <a:endParaRPr lang="en-GB" dirty="0"/>
          </a:p>
          <a:p>
            <a:r>
              <a:rPr lang="en-GB" dirty="0"/>
              <a:t>Qualitative researchers have recognised this for much longer, </a:t>
            </a:r>
            <a:r>
              <a:rPr lang="en-GB" i="1" dirty="0"/>
              <a:t>but</a:t>
            </a:r>
            <a:r>
              <a:rPr lang="en-GB" dirty="0"/>
              <a:t> don’t always act on it</a:t>
            </a:r>
          </a:p>
          <a:p>
            <a:endParaRPr lang="en-GB" dirty="0"/>
          </a:p>
          <a:p>
            <a:r>
              <a:rPr lang="en-GB" dirty="0"/>
              <a:t>Quantitative researchers need to either show discipline (e.g., detailed pre-registrations) or embrace subjectivity with need for transparency</a:t>
            </a:r>
          </a:p>
        </p:txBody>
      </p:sp>
      <p:pic>
        <p:nvPicPr>
          <p:cNvPr id="5" name="Picture 55" descr="image">
            <a:extLst>
              <a:ext uri="{FF2B5EF4-FFF2-40B4-BE49-F238E27FC236}">
                <a16:creationId xmlns:a16="http://schemas.microsoft.com/office/drawing/2014/main" id="{DA070530-F919-4A1A-A696-6D4EFA34F3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Camera 3">
            <a:extLst>
              <a:ext uri="{FF2B5EF4-FFF2-40B4-BE49-F238E27FC236}">
                <a16:creationId xmlns:a16="http://schemas.microsoft.com/office/drawing/2014/main" id="{5CF1BD26-38D1-7362-DE82-CDB0FA50FB84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425092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F6B3E-0DED-4B6F-8C64-99254DBB0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-regist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1FFE-853F-4F97-997B-3701EA64D0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7146"/>
            <a:ext cx="10515600" cy="4915729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Create a fixed record of your </a:t>
            </a:r>
            <a:r>
              <a:rPr lang="en-GB" i="1" dirty="0"/>
              <a:t>plan</a:t>
            </a:r>
            <a:r>
              <a:rPr lang="en-GB" dirty="0"/>
              <a:t> before data collection</a:t>
            </a:r>
          </a:p>
          <a:p>
            <a:endParaRPr lang="en-GB" dirty="0"/>
          </a:p>
          <a:p>
            <a:r>
              <a:rPr lang="en-GB" dirty="0"/>
              <a:t>Analysis strategy, including choices that</a:t>
            </a:r>
            <a:br>
              <a:rPr lang="en-GB" dirty="0"/>
            </a:br>
            <a:r>
              <a:rPr lang="en-GB" dirty="0"/>
              <a:t>can easily become data-driven/self-serving</a:t>
            </a:r>
          </a:p>
          <a:p>
            <a:pPr lvl="1"/>
            <a:r>
              <a:rPr lang="en-GB" dirty="0"/>
              <a:t>Tests to be run, variables to be used</a:t>
            </a:r>
          </a:p>
          <a:p>
            <a:pPr lvl="1"/>
            <a:r>
              <a:rPr lang="en-GB" dirty="0"/>
              <a:t>Exclusion criteria (outliers, missing data)</a:t>
            </a:r>
          </a:p>
          <a:p>
            <a:endParaRPr lang="en-GB" dirty="0"/>
          </a:p>
          <a:p>
            <a:r>
              <a:rPr lang="en-GB" dirty="0"/>
              <a:t>Currently debated and adapted for qualitative</a:t>
            </a:r>
            <a:br>
              <a:rPr lang="en-GB" dirty="0"/>
            </a:br>
            <a:r>
              <a:rPr lang="en-GB" dirty="0"/>
              <a:t>research (e.g., Haven &amp; </a:t>
            </a:r>
            <a:r>
              <a:rPr lang="en-GB" dirty="0" err="1"/>
              <a:t>Grootel</a:t>
            </a:r>
            <a:r>
              <a:rPr lang="en-GB" dirty="0"/>
              <a:t>, 2019)</a:t>
            </a:r>
          </a:p>
          <a:p>
            <a:endParaRPr lang="en-GB" dirty="0"/>
          </a:p>
          <a:p>
            <a:r>
              <a:rPr lang="en-GB" dirty="0"/>
              <a:t>Often not published instantly, but ideally </a:t>
            </a:r>
            <a:br>
              <a:rPr lang="en-GB" dirty="0"/>
            </a:br>
            <a:r>
              <a:rPr lang="en-GB" dirty="0"/>
              <a:t>automatically after set period (as record </a:t>
            </a:r>
            <a:br>
              <a:rPr lang="en-GB" dirty="0"/>
            </a:br>
            <a:r>
              <a:rPr lang="en-GB" dirty="0"/>
              <a:t>of attempted  research) – depends on platform</a:t>
            </a:r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553D68ED-EAE4-477B-A0A1-6AF536B960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amera 4">
            <a:extLst>
              <a:ext uri="{FF2B5EF4-FFF2-40B4-BE49-F238E27FC236}">
                <a16:creationId xmlns:a16="http://schemas.microsoft.com/office/drawing/2014/main" id="{8B81F946-19CD-90D1-E180-12D2A659E766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246820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F6B3E-0DED-4B6F-8C64-99254DBB0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-regist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1FFE-853F-4F97-997B-3701EA64D0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7146"/>
            <a:ext cx="10515600" cy="4915729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Simple format for quantitative research</a:t>
            </a:r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emplates for qualitative research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For systematic reviews, e.g., </a:t>
            </a:r>
            <a:br>
              <a:rPr lang="en-GB" dirty="0"/>
            </a:br>
            <a:r>
              <a:rPr lang="en-GB" dirty="0">
                <a:hlinkClick r:id="rId3"/>
              </a:rPr>
              <a:t>https://bit.ly/syst-reviews</a:t>
            </a:r>
            <a:r>
              <a:rPr lang="en-GB" dirty="0"/>
              <a:t> </a:t>
            </a:r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553D68ED-EAE4-477B-A0A1-6AF536B960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Home | AsPredicted">
            <a:extLst>
              <a:ext uri="{FF2B5EF4-FFF2-40B4-BE49-F238E27FC236}">
                <a16:creationId xmlns:a16="http://schemas.microsoft.com/office/drawing/2014/main" id="{E6356286-60E1-AB07-6A0A-46F020BA4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3547" y="1934744"/>
            <a:ext cx="3962400" cy="103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C5011F6-4A2E-DC48-F03C-81DE6A1BA7E8}"/>
              </a:ext>
            </a:extLst>
          </p:cNvPr>
          <p:cNvGrpSpPr/>
          <p:nvPr/>
        </p:nvGrpSpPr>
        <p:grpSpPr>
          <a:xfrm>
            <a:off x="1442335" y="3429000"/>
            <a:ext cx="4264823" cy="1941925"/>
            <a:chOff x="1455057" y="3617046"/>
            <a:chExt cx="4868167" cy="221664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47CB874-0E2E-757F-7DC2-1EF09AC73F5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55057" y="4656144"/>
              <a:ext cx="4868167" cy="1177551"/>
            </a:xfrm>
            <a:prstGeom prst="rect">
              <a:avLst/>
            </a:prstGeom>
          </p:spPr>
        </p:pic>
        <p:pic>
          <p:nvPicPr>
            <p:cNvPr id="10244" name="Picture 4" descr="New OSF Registries Enhancements Improve Efficiency and Quality of  Registrations">
              <a:extLst>
                <a:ext uri="{FF2B5EF4-FFF2-40B4-BE49-F238E27FC236}">
                  <a16:creationId xmlns:a16="http://schemas.microsoft.com/office/drawing/2014/main" id="{4742739B-0040-F292-CC50-A060F8F9250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62" t="25141" r="15653" b="44673"/>
            <a:stretch/>
          </p:blipFill>
          <p:spPr bwMode="auto">
            <a:xfrm>
              <a:off x="1596571" y="3617046"/>
              <a:ext cx="4726653" cy="1039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Camera 6">
            <a:extLst>
              <a:ext uri="{FF2B5EF4-FFF2-40B4-BE49-F238E27FC236}">
                <a16:creationId xmlns:a16="http://schemas.microsoft.com/office/drawing/2014/main" id="{19EF0007-963A-DBEE-BFE6-883D428E255D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4230631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4D683E-5F5F-4508-93B6-0607F9BAA4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ew ”gold standard”?</a:t>
            </a:r>
            <a:br>
              <a:rPr lang="en-US" dirty="0"/>
            </a:br>
            <a:r>
              <a:rPr lang="en-US" dirty="0"/>
              <a:t>Registered Reports</a:t>
            </a:r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1F809134-56F8-1E31-7C4A-30BC35A5C1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CB90B64-3777-51AC-5D72-B5EFC853DB8E}"/>
              </a:ext>
            </a:extLst>
          </p:cNvPr>
          <p:cNvGrpSpPr/>
          <p:nvPr/>
        </p:nvGrpSpPr>
        <p:grpSpPr>
          <a:xfrm>
            <a:off x="-692179" y="1760538"/>
            <a:ext cx="9679260" cy="4925332"/>
            <a:chOff x="-566057" y="1567544"/>
            <a:chExt cx="9679260" cy="4925332"/>
          </a:xfrm>
        </p:grpSpPr>
        <p:pic>
          <p:nvPicPr>
            <p:cNvPr id="11266" name="Picture 2" descr="Steps to publication of a registered report compared with conventional article">
              <a:extLst>
                <a:ext uri="{FF2B5EF4-FFF2-40B4-BE49-F238E27FC236}">
                  <a16:creationId xmlns:a16="http://schemas.microsoft.com/office/drawing/2014/main" id="{8E4A8FBA-4503-8A05-9B4E-A46BE2D083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566057" y="1567544"/>
              <a:ext cx="9679260" cy="4925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2" descr="Steps to publication of a registered report compared with conventional article">
              <a:extLst>
                <a:ext uri="{FF2B5EF4-FFF2-40B4-BE49-F238E27FC236}">
                  <a16:creationId xmlns:a16="http://schemas.microsoft.com/office/drawing/2014/main" id="{AF261599-4ED4-1D52-FD08-B75789D8E8C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70" t="53094" r="76083" b="19993"/>
            <a:stretch/>
          </p:blipFill>
          <p:spPr bwMode="auto">
            <a:xfrm>
              <a:off x="4513942" y="5237079"/>
              <a:ext cx="783771" cy="12557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6FA6E753-2840-3692-A74D-6E306D667E10}"/>
              </a:ext>
            </a:extLst>
          </p:cNvPr>
          <p:cNvSpPr/>
          <p:nvPr/>
        </p:nvSpPr>
        <p:spPr>
          <a:xfrm>
            <a:off x="3715654" y="1690688"/>
            <a:ext cx="3657603" cy="5167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47DEED-C9CA-73D0-7F03-DD9390A34A1B}"/>
              </a:ext>
            </a:extLst>
          </p:cNvPr>
          <p:cNvSpPr/>
          <p:nvPr/>
        </p:nvSpPr>
        <p:spPr>
          <a:xfrm>
            <a:off x="4426851" y="6595268"/>
            <a:ext cx="744740" cy="630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Camera 8">
            <a:extLst>
              <a:ext uri="{FF2B5EF4-FFF2-40B4-BE49-F238E27FC236}">
                <a16:creationId xmlns:a16="http://schemas.microsoft.com/office/drawing/2014/main" id="{B60C75CB-CCD1-CCDE-9990-B4B42DBECC79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347067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726BD-43DF-4C3B-A464-FB7F50CDA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pen Source softwa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1D97CA-AD1F-44F8-8E4D-BF2FB6FF5F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80416"/>
            <a:ext cx="10515600" cy="4351338"/>
          </a:xfrm>
        </p:spPr>
        <p:txBody>
          <a:bodyPr>
            <a:normAutofit/>
          </a:bodyPr>
          <a:lstStyle/>
          <a:p>
            <a:r>
              <a:rPr lang="en-GB" b="1" dirty="0"/>
              <a:t>Analysis code is part of methods</a:t>
            </a:r>
            <a:r>
              <a:rPr lang="en-GB" dirty="0"/>
              <a:t>, should be</a:t>
            </a:r>
            <a:br>
              <a:rPr lang="en-GB" dirty="0"/>
            </a:br>
            <a:r>
              <a:rPr lang="en-GB" dirty="0"/>
              <a:t>published – can be done at high level in</a:t>
            </a:r>
            <a:br>
              <a:rPr lang="en-GB" dirty="0"/>
            </a:br>
            <a:r>
              <a:rPr lang="en-GB" dirty="0"/>
              <a:t>SPSS, but underlying code is IBM’s ‘secret’</a:t>
            </a:r>
          </a:p>
          <a:p>
            <a:r>
              <a:rPr lang="en-GB" dirty="0"/>
              <a:t>Code can only be checked and reused by </a:t>
            </a:r>
            <a:br>
              <a:rPr lang="en-GB" dirty="0"/>
            </a:br>
            <a:r>
              <a:rPr lang="en-GB" dirty="0"/>
              <a:t>people with SPSS licence (min. 99 USD per </a:t>
            </a:r>
            <a:br>
              <a:rPr lang="en-GB" dirty="0"/>
            </a:br>
            <a:r>
              <a:rPr lang="en-GB" dirty="0"/>
              <a:t>month outside academia!)</a:t>
            </a:r>
          </a:p>
          <a:p>
            <a:endParaRPr lang="en-GB" dirty="0"/>
          </a:p>
          <a:p>
            <a:r>
              <a:rPr lang="en-GB" dirty="0"/>
              <a:t>Alternative: </a:t>
            </a:r>
            <a:r>
              <a:rPr lang="en-GB" b="1" dirty="0"/>
              <a:t>Open Source software </a:t>
            </a:r>
            <a:r>
              <a:rPr lang="en-GB" dirty="0"/>
              <a:t>developed</a:t>
            </a:r>
            <a:br>
              <a:rPr lang="en-GB" dirty="0"/>
            </a:br>
            <a:r>
              <a:rPr lang="en-GB" dirty="0"/>
              <a:t>by community of scientists and users, free to use</a:t>
            </a:r>
            <a:br>
              <a:rPr lang="en-GB" dirty="0"/>
            </a:br>
            <a:r>
              <a:rPr lang="en-GB" dirty="0"/>
              <a:t>and open for inspection ‘under the hood’</a:t>
            </a:r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D713B59F-0971-4029-B63D-E9B3AAF90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878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amera 4">
            <a:extLst>
              <a:ext uri="{FF2B5EF4-FFF2-40B4-BE49-F238E27FC236}">
                <a16:creationId xmlns:a16="http://schemas.microsoft.com/office/drawing/2014/main" id="{ABFBD9AA-728C-26D8-341D-A6A6758A8A68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857974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726BD-43DF-4C3B-A464-FB7F50CDA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pen Source softwa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1D97CA-AD1F-44F8-8E4D-BF2FB6FF5F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80416"/>
            <a:ext cx="10515600" cy="4351338"/>
          </a:xfrm>
        </p:spPr>
        <p:txBody>
          <a:bodyPr>
            <a:normAutofit/>
          </a:bodyPr>
          <a:lstStyle/>
          <a:p>
            <a:r>
              <a:rPr lang="en-GB" b="1" dirty="0"/>
              <a:t>Traditionally, very powerful, </a:t>
            </a:r>
            <a:br>
              <a:rPr lang="en-GB" b="1" dirty="0"/>
            </a:br>
            <a:r>
              <a:rPr lang="en-GB" dirty="0"/>
              <a:t>but with steeper learning curve</a:t>
            </a:r>
          </a:p>
          <a:p>
            <a:endParaRPr lang="en-GB" dirty="0"/>
          </a:p>
          <a:p>
            <a:r>
              <a:rPr lang="en-GB" dirty="0"/>
              <a:t>More recently, tools with </a:t>
            </a:r>
            <a:br>
              <a:rPr lang="en-GB" dirty="0"/>
            </a:br>
            <a:r>
              <a:rPr lang="en-GB" dirty="0"/>
              <a:t>graphical user interface</a:t>
            </a:r>
            <a:br>
              <a:rPr lang="en-GB" dirty="0"/>
            </a:br>
            <a:r>
              <a:rPr lang="en-GB" dirty="0"/>
              <a:t>have much improved</a:t>
            </a:r>
          </a:p>
          <a:p>
            <a:pPr lvl="1"/>
            <a:r>
              <a:rPr lang="en-GB" dirty="0"/>
              <a:t>SPSS-like</a:t>
            </a:r>
          </a:p>
          <a:p>
            <a:pPr lvl="1"/>
            <a:r>
              <a:rPr lang="en-GB" dirty="0"/>
              <a:t>But better </a:t>
            </a:r>
            <a:r>
              <a:rPr lang="en-GB" dirty="0">
                <a:sym typeface="Wingdings" pitchFamily="2" charset="2"/>
              </a:rPr>
              <a:t></a:t>
            </a:r>
            <a:endParaRPr lang="en-GB" dirty="0"/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D713B59F-0971-4029-B63D-E9B3AAF90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878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517D924-0130-45C2-BD78-EE9F18229A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94974" y="1690688"/>
            <a:ext cx="1186329" cy="919241"/>
          </a:xfrm>
          <a:prstGeom prst="rect">
            <a:avLst/>
          </a:prstGeom>
        </p:spPr>
      </p:pic>
      <p:sp>
        <p:nvSpPr>
          <p:cNvPr id="5" name="AutoShape 2">
            <a:extLst>
              <a:ext uri="{FF2B5EF4-FFF2-40B4-BE49-F238E27FC236}">
                <a16:creationId xmlns:a16="http://schemas.microsoft.com/office/drawing/2014/main" id="{75B3495F-C3AF-D8BF-8BF9-115E4D7295C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220" name="Picture 4" descr="Introduction to jamovi | JD Leongómez">
            <a:extLst>
              <a:ext uri="{FF2B5EF4-FFF2-40B4-BE49-F238E27FC236}">
                <a16:creationId xmlns:a16="http://schemas.microsoft.com/office/drawing/2014/main" id="{B93D26B9-C3CC-8756-5157-4D08E92133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3715" y="4378356"/>
            <a:ext cx="3739283" cy="919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Camera 6">
            <a:extLst>
              <a:ext uri="{FF2B5EF4-FFF2-40B4-BE49-F238E27FC236}">
                <a16:creationId xmlns:a16="http://schemas.microsoft.com/office/drawing/2014/main" id="{F8587EBC-1F50-799B-6F82-D488424F7763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716251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BF3B1F-043F-4B8D-95F6-9A333529F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berate teaching materi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D67592-9D46-454F-BAF4-7E5576A57B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6903"/>
            <a:ext cx="10515600" cy="4351338"/>
          </a:xfrm>
        </p:spPr>
        <p:txBody>
          <a:bodyPr/>
          <a:lstStyle/>
          <a:p>
            <a:r>
              <a:rPr lang="en-GB" dirty="0"/>
              <a:t>Education increasingly expensive</a:t>
            </a:r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C7C0C2B5-3F6A-4917-9C0F-10EAA3D05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FD58E800-0F8D-D817-C040-74FB79D049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2236780"/>
            <a:ext cx="6273800" cy="4256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42D0A8D-7B11-C000-FE7C-F03F38D5F3E3}"/>
              </a:ext>
            </a:extLst>
          </p:cNvPr>
          <p:cNvSpPr txBox="1">
            <a:spLocks/>
          </p:cNvSpPr>
          <p:nvPr/>
        </p:nvSpPr>
        <p:spPr>
          <a:xfrm>
            <a:off x="838200" y="6492874"/>
            <a:ext cx="10515600" cy="15627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200" dirty="0"/>
              <a:t>Source:</a:t>
            </a:r>
            <a:r>
              <a:rPr lang="en-US" sz="1200" dirty="0">
                <a:hlinkClick r:id="rId5"/>
              </a:rPr>
              <a:t> House of Commons Library</a:t>
            </a:r>
            <a:endParaRPr lang="en-US" sz="1200" dirty="0"/>
          </a:p>
        </p:txBody>
      </p:sp>
      <p:pic>
        <p:nvPicPr>
          <p:cNvPr id="6" name="Camera 5">
            <a:extLst>
              <a:ext uri="{FF2B5EF4-FFF2-40B4-BE49-F238E27FC236}">
                <a16:creationId xmlns:a16="http://schemas.microsoft.com/office/drawing/2014/main" id="{235C68F4-62C4-1BC0-6F78-6B5F98B4A23E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4133512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E5C05-B3FF-4A8C-81E1-D4600ED7D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pen Science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FD79E4FA-9EB0-4825-9E18-C0D40BF172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566" y="1690688"/>
            <a:ext cx="2999510" cy="446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D52C52A4-D163-4EFE-85C5-6232D842F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7710" y="1493428"/>
            <a:ext cx="3749585" cy="499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5" descr="image">
            <a:extLst>
              <a:ext uri="{FF2B5EF4-FFF2-40B4-BE49-F238E27FC236}">
                <a16:creationId xmlns:a16="http://schemas.microsoft.com/office/drawing/2014/main" id="{E1DF8C5C-6D53-4B8C-B311-31F009D38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Camera 2">
            <a:extLst>
              <a:ext uri="{FF2B5EF4-FFF2-40B4-BE49-F238E27FC236}">
                <a16:creationId xmlns:a16="http://schemas.microsoft.com/office/drawing/2014/main" id="{F9C2E775-F3A5-C8D9-F62B-A3B1806CF965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23552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2416"/>
    </mc:Choice>
    <mc:Fallback xmlns="">
      <p:transition spd="slow" advTm="11241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BF3B1F-043F-4B8D-95F6-9A333529F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berate teaching materi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D67592-9D46-454F-BAF4-7E5576A57B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6902"/>
            <a:ext cx="10515600" cy="4750443"/>
          </a:xfrm>
        </p:spPr>
        <p:txBody>
          <a:bodyPr>
            <a:normAutofit fontScale="92500" lnSpcReduction="10000"/>
          </a:bodyPr>
          <a:lstStyle/>
          <a:p>
            <a:r>
              <a:rPr lang="en-GB" sz="2400" dirty="0"/>
              <a:t>E.g., several million students take undergraduate</a:t>
            </a:r>
            <a:br>
              <a:rPr lang="en-GB" sz="2400" dirty="0"/>
            </a:br>
            <a:r>
              <a:rPr lang="en-GB" sz="2400" dirty="0"/>
              <a:t>psychology courses each year</a:t>
            </a:r>
          </a:p>
          <a:p>
            <a:endParaRPr lang="en-GB" sz="2400" dirty="0"/>
          </a:p>
          <a:p>
            <a:r>
              <a:rPr lang="en-GB" sz="2400" dirty="0"/>
              <a:t>Each university develops own teaching</a:t>
            </a:r>
            <a:br>
              <a:rPr lang="en-GB" sz="2400" dirty="0"/>
            </a:br>
            <a:r>
              <a:rPr lang="en-GB" sz="2400" dirty="0"/>
              <a:t>materials, and buys expensive ageing textbooks</a:t>
            </a:r>
            <a:br>
              <a:rPr lang="en-GB" sz="2400" dirty="0"/>
            </a:br>
            <a:r>
              <a:rPr lang="en-GB" sz="2400" dirty="0">
                <a:sym typeface="Wingdings" panose="05000000000000000000" pitchFamily="2" charset="2"/>
              </a:rPr>
              <a:t> </a:t>
            </a:r>
            <a:r>
              <a:rPr lang="en-GB" sz="2400" b="1" dirty="0">
                <a:solidFill>
                  <a:schemeClr val="accent2"/>
                </a:solidFill>
                <a:sym typeface="Wingdings" panose="05000000000000000000" pitchFamily="2" charset="2"/>
              </a:rPr>
              <a:t>inefficient</a:t>
            </a:r>
            <a:endParaRPr lang="en-GB" sz="2400" b="1" dirty="0">
              <a:solidFill>
                <a:schemeClr val="accent2"/>
              </a:solidFill>
            </a:endParaRPr>
          </a:p>
          <a:p>
            <a:endParaRPr lang="en-GB" sz="2400" dirty="0"/>
          </a:p>
          <a:p>
            <a:r>
              <a:rPr lang="en-GB" sz="2400" i="1" dirty="0"/>
              <a:t>Alternative:</a:t>
            </a:r>
            <a:r>
              <a:rPr lang="en-GB" sz="2400" dirty="0"/>
              <a:t> licence materials under Creative</a:t>
            </a:r>
            <a:br>
              <a:rPr lang="en-GB" sz="2400" dirty="0"/>
            </a:br>
            <a:r>
              <a:rPr lang="en-GB" sz="2400" dirty="0"/>
              <a:t>Commons (or similar), share, adapt and jointly</a:t>
            </a:r>
            <a:br>
              <a:rPr lang="en-GB" sz="2400" dirty="0"/>
            </a:br>
            <a:r>
              <a:rPr lang="en-GB" sz="2400" dirty="0"/>
              <a:t>improve (e.g., </a:t>
            </a:r>
            <a:r>
              <a:rPr lang="en-GB" sz="2400" b="1" dirty="0" err="1"/>
              <a:t>PsyTeachR</a:t>
            </a:r>
            <a:r>
              <a:rPr lang="en-GB" sz="2400" b="1" dirty="0"/>
              <a:t> </a:t>
            </a:r>
            <a:r>
              <a:rPr lang="en-GB" sz="2400" dirty="0"/>
              <a:t>at University of Glasgow),</a:t>
            </a:r>
            <a:br>
              <a:rPr lang="en-GB" sz="2400" dirty="0"/>
            </a:br>
            <a:r>
              <a:rPr lang="en-GB" sz="2400" dirty="0"/>
              <a:t>create open </a:t>
            </a:r>
            <a:r>
              <a:rPr lang="en-GB" sz="2400" dirty="0" err="1"/>
              <a:t>texbooks</a:t>
            </a:r>
            <a:r>
              <a:rPr lang="en-GB" sz="2400" dirty="0"/>
              <a:t> (e.g., SPSP)</a:t>
            </a:r>
          </a:p>
          <a:p>
            <a:endParaRPr lang="en-GB" sz="2400" dirty="0"/>
          </a:p>
          <a:p>
            <a:r>
              <a:rPr lang="en-GB" sz="2400" b="1" dirty="0">
                <a:solidFill>
                  <a:schemeClr val="accent2"/>
                </a:solidFill>
              </a:rPr>
              <a:t>Reduce cost, improve quality, free up time </a:t>
            </a:r>
            <a:br>
              <a:rPr lang="en-GB" sz="2400" b="1" dirty="0">
                <a:solidFill>
                  <a:schemeClr val="accent2"/>
                </a:solidFill>
              </a:rPr>
            </a:br>
            <a:r>
              <a:rPr lang="en-GB" sz="2400" b="1" dirty="0">
                <a:solidFill>
                  <a:schemeClr val="accent2"/>
                </a:solidFill>
              </a:rPr>
              <a:t>and promote access</a:t>
            </a:r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C7C0C2B5-3F6A-4917-9C0F-10EAA3D05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878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amera 4">
            <a:extLst>
              <a:ext uri="{FF2B5EF4-FFF2-40B4-BE49-F238E27FC236}">
                <a16:creationId xmlns:a16="http://schemas.microsoft.com/office/drawing/2014/main" id="{34104C91-9BA6-AE03-7E4D-EF1DBBDC2091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62832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64C8B-975C-4BED-AA32-6DB20FD25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pen Science at Birkbec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9EAE17-91E6-439D-BAEF-7FFBE8C377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77755"/>
            <a:ext cx="10515600" cy="5155274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College has rather ambitious</a:t>
            </a:r>
            <a:br>
              <a:rPr lang="en-GB" dirty="0"/>
            </a:br>
            <a:r>
              <a:rPr lang="en-GB" dirty="0">
                <a:hlinkClick r:id="rId3"/>
              </a:rPr>
              <a:t>Open Research Policy</a:t>
            </a:r>
            <a:endParaRPr lang="en-GB" dirty="0"/>
          </a:p>
          <a:p>
            <a:endParaRPr lang="en-GB" dirty="0"/>
          </a:p>
          <a:p>
            <a:r>
              <a:rPr lang="en-GB" dirty="0"/>
              <a:t>Short and long-form output </a:t>
            </a:r>
            <a:br>
              <a:rPr lang="en-GB" dirty="0"/>
            </a:br>
            <a:r>
              <a:rPr lang="en-GB" dirty="0"/>
              <a:t>(articles and books) must</a:t>
            </a:r>
            <a:br>
              <a:rPr lang="en-GB" dirty="0"/>
            </a:br>
            <a:r>
              <a:rPr lang="en-GB" dirty="0"/>
              <a:t>be freely available online,</a:t>
            </a:r>
            <a:br>
              <a:rPr lang="en-GB" dirty="0"/>
            </a:br>
            <a:r>
              <a:rPr lang="en-GB" dirty="0"/>
              <a:t>and </a:t>
            </a:r>
            <a:r>
              <a:rPr lang="en-GB" dirty="0">
                <a:solidFill>
                  <a:srgbClr val="7030A0"/>
                </a:solidFill>
              </a:rPr>
              <a:t>licenced under CC BY</a:t>
            </a:r>
          </a:p>
          <a:p>
            <a:pPr lvl="1"/>
            <a:r>
              <a:rPr lang="en-GB" dirty="0"/>
              <a:t>Articles immediately,</a:t>
            </a:r>
            <a:br>
              <a:rPr lang="en-GB" dirty="0"/>
            </a:br>
            <a:r>
              <a:rPr lang="en-GB" dirty="0"/>
              <a:t>at least the AAM</a:t>
            </a:r>
          </a:p>
          <a:p>
            <a:pPr lvl="1"/>
            <a:r>
              <a:rPr lang="en-GB" dirty="0"/>
              <a:t>Books within 12 months</a:t>
            </a:r>
          </a:p>
          <a:p>
            <a:pPr lvl="1"/>
            <a:endParaRPr lang="en-GB" dirty="0"/>
          </a:p>
          <a:p>
            <a:r>
              <a:rPr lang="en-GB" dirty="0"/>
              <a:t>Research data should be deposited</a:t>
            </a:r>
            <a:br>
              <a:rPr lang="en-GB" dirty="0"/>
            </a:br>
            <a:r>
              <a:rPr lang="en-GB" dirty="0"/>
              <a:t>on </a:t>
            </a:r>
            <a:r>
              <a:rPr lang="en-GB" dirty="0" err="1"/>
              <a:t>BiRD</a:t>
            </a:r>
            <a:r>
              <a:rPr lang="en-GB" dirty="0"/>
              <a:t>, ideally open access –</a:t>
            </a:r>
            <a:br>
              <a:rPr lang="en-GB" dirty="0"/>
            </a:br>
            <a:r>
              <a:rPr lang="en-GB" dirty="0"/>
              <a:t>“available on request” not enough</a:t>
            </a:r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80B0F4A7-ADC4-4A2C-A55F-1046BF122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Birkbeck, University of London - Home | Facebook">
            <a:extLst>
              <a:ext uri="{FF2B5EF4-FFF2-40B4-BE49-F238E27FC236}">
                <a16:creationId xmlns:a16="http://schemas.microsoft.com/office/drawing/2014/main" id="{18FA365F-D49F-670A-5EE4-E443FEEE9C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9847" y="365125"/>
            <a:ext cx="1126745" cy="1126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amera 4">
            <a:extLst>
              <a:ext uri="{FF2B5EF4-FFF2-40B4-BE49-F238E27FC236}">
                <a16:creationId xmlns:a16="http://schemas.microsoft.com/office/drawing/2014/main" id="{7BC2318B-1687-6973-7444-72EF495349EF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952202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726BD-43DF-4C3B-A464-FB7F50CDA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t involved with Open Scie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1D97CA-AD1F-44F8-8E4D-BF2FB6FF5F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1723"/>
            <a:ext cx="10515600" cy="4441066"/>
          </a:xfrm>
        </p:spPr>
        <p:txBody>
          <a:bodyPr>
            <a:normAutofit/>
          </a:bodyPr>
          <a:lstStyle/>
          <a:p>
            <a:r>
              <a:rPr lang="en-GB" sz="2200" b="1" dirty="0"/>
              <a:t>Use and cite public data, </a:t>
            </a:r>
            <a:r>
              <a:rPr lang="en-GB" sz="2200" dirty="0"/>
              <a:t>where appropriate</a:t>
            </a:r>
            <a:endParaRPr lang="en-GB" sz="2200" b="1" dirty="0"/>
          </a:p>
          <a:p>
            <a:r>
              <a:rPr lang="en-GB" sz="2200" b="1" dirty="0"/>
              <a:t>Share your data and materials, </a:t>
            </a:r>
            <a:r>
              <a:rPr lang="en-GB" sz="2200" dirty="0"/>
              <a:t>e.g., on osf.io</a:t>
            </a:r>
            <a:br>
              <a:rPr lang="en-GB" sz="2200" dirty="0"/>
            </a:br>
            <a:r>
              <a:rPr lang="en-GB" sz="2200" dirty="0"/>
              <a:t>(within ethical and legal limits, cf. McGrath &amp; </a:t>
            </a:r>
            <a:br>
              <a:rPr lang="en-GB" sz="2200" dirty="0"/>
            </a:br>
            <a:r>
              <a:rPr lang="en-GB" sz="2200" dirty="0" err="1"/>
              <a:t>Nilsonne</a:t>
            </a:r>
            <a:r>
              <a:rPr lang="en-GB" sz="2200" dirty="0"/>
              <a:t>, 2018, for interview data)</a:t>
            </a:r>
          </a:p>
          <a:p>
            <a:r>
              <a:rPr lang="en-GB" sz="2200" b="1" dirty="0"/>
              <a:t>Share your results, </a:t>
            </a:r>
            <a:r>
              <a:rPr lang="en-GB" sz="2200" dirty="0"/>
              <a:t>in </a:t>
            </a:r>
            <a:r>
              <a:rPr lang="en-GB" sz="2200" i="1" dirty="0">
                <a:solidFill>
                  <a:srgbClr val="7030A0"/>
                </a:solidFill>
              </a:rPr>
              <a:t>diamond/platinum</a:t>
            </a:r>
            <a:r>
              <a:rPr lang="en-GB" sz="2200" dirty="0">
                <a:solidFill>
                  <a:srgbClr val="7030A0"/>
                </a:solidFill>
              </a:rPr>
              <a:t> </a:t>
            </a:r>
            <a:r>
              <a:rPr lang="en-GB" sz="2200" dirty="0"/>
              <a:t>open journals, </a:t>
            </a:r>
            <a:br>
              <a:rPr lang="en-GB" sz="2200" dirty="0"/>
            </a:br>
            <a:r>
              <a:rPr lang="en-GB" sz="2200" dirty="0"/>
              <a:t>e.g., </a:t>
            </a:r>
            <a:r>
              <a:rPr lang="en-GB" sz="2200" i="1" dirty="0"/>
              <a:t>Journal of Work and Organisational Psychology,</a:t>
            </a:r>
            <a:br>
              <a:rPr lang="en-GB" sz="2200" i="1" dirty="0"/>
            </a:br>
            <a:r>
              <a:rPr lang="en-GB" sz="2200" dirty="0"/>
              <a:t>or as pre-prints, e.g., on </a:t>
            </a:r>
            <a:r>
              <a:rPr lang="en-GB" sz="2200" dirty="0" err="1"/>
              <a:t>PsyArXiv</a:t>
            </a:r>
            <a:endParaRPr lang="en-GB" sz="2200" i="1" dirty="0"/>
          </a:p>
          <a:p>
            <a:endParaRPr lang="en-GB" sz="2200" b="1" dirty="0"/>
          </a:p>
          <a:p>
            <a:r>
              <a:rPr lang="en-GB" sz="2200" b="1" dirty="0"/>
              <a:t>Look for articles that embrace Open Science,</a:t>
            </a:r>
            <a:br>
              <a:rPr lang="en-GB" sz="2200" b="1" dirty="0"/>
            </a:br>
            <a:r>
              <a:rPr lang="en-GB" sz="2200" dirty="0"/>
              <a:t>and recognise their advantages</a:t>
            </a:r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D713B59F-0971-4029-B63D-E9B3AAF90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878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6" name="Picture 2" descr="Image result for osf open science">
            <a:extLst>
              <a:ext uri="{FF2B5EF4-FFF2-40B4-BE49-F238E27FC236}">
                <a16:creationId xmlns:a16="http://schemas.microsoft.com/office/drawing/2014/main" id="{76A31F94-9BC9-4811-A8CE-DF27F806DC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723" y="5567137"/>
            <a:ext cx="2809896" cy="1129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 descr="Image result for osf.io logo">
            <a:extLst>
              <a:ext uri="{FF2B5EF4-FFF2-40B4-BE49-F238E27FC236}">
                <a16:creationId xmlns:a16="http://schemas.microsoft.com/office/drawing/2014/main" id="{E40C524E-2B62-4C4F-AE0F-5E035104B4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442" y="5567138"/>
            <a:ext cx="3001506" cy="1129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amera 4">
            <a:extLst>
              <a:ext uri="{FF2B5EF4-FFF2-40B4-BE49-F238E27FC236}">
                <a16:creationId xmlns:a16="http://schemas.microsoft.com/office/drawing/2014/main" id="{C17EBAA5-4169-15FA-78EA-012ACC4D7997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545263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E5C05-B3FF-4A8C-81E1-D4600ED7D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y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8D3E7B-FA71-47B2-AE54-714469A4B2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3676"/>
            <a:ext cx="10515600" cy="5394324"/>
          </a:xfrm>
        </p:spPr>
        <p:txBody>
          <a:bodyPr>
            <a:normAutofit fontScale="70000" lnSpcReduction="20000"/>
          </a:bodyPr>
          <a:lstStyle/>
          <a:p>
            <a:r>
              <a:rPr lang="en-GB" b="1" dirty="0"/>
              <a:t>Open Science</a:t>
            </a:r>
            <a:r>
              <a:rPr lang="en-GB" dirty="0"/>
              <a:t> is a broad and diverse </a:t>
            </a:r>
            <a:br>
              <a:rPr lang="en-GB" dirty="0"/>
            </a:br>
            <a:r>
              <a:rPr lang="en-GB" dirty="0"/>
              <a:t>movement to open up</a:t>
            </a:r>
          </a:p>
          <a:p>
            <a:pPr lvl="1"/>
            <a:r>
              <a:rPr lang="en-GB" b="1" dirty="0"/>
              <a:t>Access to publications </a:t>
            </a:r>
            <a:br>
              <a:rPr lang="en-GB" b="1" dirty="0"/>
            </a:br>
            <a:r>
              <a:rPr lang="en-GB" dirty="0"/>
              <a:t>(and copyright to allow derivatives)</a:t>
            </a:r>
          </a:p>
          <a:p>
            <a:pPr lvl="1"/>
            <a:r>
              <a:rPr lang="en-GB" b="1" dirty="0"/>
              <a:t>Data</a:t>
            </a:r>
          </a:p>
          <a:p>
            <a:pPr lvl="1"/>
            <a:r>
              <a:rPr lang="en-GB" b="1" dirty="0"/>
              <a:t>Methods / code</a:t>
            </a:r>
          </a:p>
          <a:p>
            <a:pPr lvl="1"/>
            <a:r>
              <a:rPr lang="en-GB" b="1" dirty="0"/>
              <a:t>Teaching materials</a:t>
            </a:r>
          </a:p>
          <a:p>
            <a:pPr lvl="1"/>
            <a:endParaRPr lang="en-GB" b="1" dirty="0"/>
          </a:p>
          <a:p>
            <a:r>
              <a:rPr lang="en-GB" dirty="0"/>
              <a:t>Can support the mission of academia</a:t>
            </a:r>
          </a:p>
          <a:p>
            <a:pPr lvl="1"/>
            <a:r>
              <a:rPr lang="en-GB" dirty="0"/>
              <a:t>To create robust and </a:t>
            </a:r>
            <a:r>
              <a:rPr lang="en-GB" b="1" dirty="0"/>
              <a:t>replicable</a:t>
            </a:r>
            <a:r>
              <a:rPr lang="en-GB" dirty="0"/>
              <a:t> knowledge </a:t>
            </a:r>
          </a:p>
          <a:p>
            <a:pPr lvl="1"/>
            <a:r>
              <a:rPr lang="en-GB" dirty="0"/>
              <a:t>To </a:t>
            </a:r>
            <a:r>
              <a:rPr lang="en-GB" b="1" dirty="0"/>
              <a:t>create </a:t>
            </a:r>
            <a:r>
              <a:rPr lang="en-GB" b="1" i="1" dirty="0"/>
              <a:t>public </a:t>
            </a:r>
            <a:r>
              <a:rPr lang="en-GB" b="1" dirty="0"/>
              <a:t>knowledge</a:t>
            </a:r>
          </a:p>
          <a:p>
            <a:pPr lvl="1"/>
            <a:r>
              <a:rPr lang="en-GB" dirty="0"/>
              <a:t>To </a:t>
            </a:r>
            <a:r>
              <a:rPr lang="en-GB" b="1" dirty="0"/>
              <a:t>influence practice</a:t>
            </a:r>
          </a:p>
          <a:p>
            <a:pPr lvl="1"/>
            <a:r>
              <a:rPr lang="en-GB" dirty="0"/>
              <a:t>To “stand on the shoulders of giants”</a:t>
            </a:r>
          </a:p>
          <a:p>
            <a:endParaRPr lang="en-GB" dirty="0"/>
          </a:p>
          <a:p>
            <a:r>
              <a:rPr lang="en-GB" dirty="0"/>
              <a:t>Challenges remain</a:t>
            </a:r>
          </a:p>
          <a:p>
            <a:pPr lvl="1"/>
            <a:r>
              <a:rPr lang="en-GB" b="1" dirty="0"/>
              <a:t>Business models</a:t>
            </a:r>
          </a:p>
          <a:p>
            <a:pPr lvl="1"/>
            <a:r>
              <a:rPr lang="en-GB" b="1" dirty="0"/>
              <a:t>Incentives</a:t>
            </a:r>
          </a:p>
          <a:p>
            <a:pPr lvl="1"/>
            <a:r>
              <a:rPr lang="en-GB" b="1" dirty="0"/>
              <a:t>Best application to qualitative research</a:t>
            </a:r>
          </a:p>
          <a:p>
            <a:endParaRPr lang="en-GB" b="1" dirty="0"/>
          </a:p>
          <a:p>
            <a:r>
              <a:rPr lang="en-GB" b="1" dirty="0"/>
              <a:t>Everyone can contribute</a:t>
            </a:r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CF0D4B05-A49F-4F1D-A38F-945D6F4A7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amera 4">
            <a:extLst>
              <a:ext uri="{FF2B5EF4-FFF2-40B4-BE49-F238E27FC236}">
                <a16:creationId xmlns:a16="http://schemas.microsoft.com/office/drawing/2014/main" id="{73A0CAAF-1AFA-A761-88ED-B4E23E26BC9E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09309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A6702-AFEC-4295-B110-1194C73D1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t just about Open Access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C9B8770-029E-465A-93F1-EB4AAB582F57}"/>
              </a:ext>
            </a:extLst>
          </p:cNvPr>
          <p:cNvSpPr/>
          <p:nvPr/>
        </p:nvSpPr>
        <p:spPr>
          <a:xfrm>
            <a:off x="2884550" y="1571659"/>
            <a:ext cx="1580725" cy="1816926"/>
          </a:xfrm>
          <a:custGeom>
            <a:avLst/>
            <a:gdLst>
              <a:gd name="connsiteX0" fmla="*/ 0 w 1611684"/>
              <a:gd name="connsiteY0" fmla="*/ 701083 h 1402165"/>
              <a:gd name="connsiteX1" fmla="*/ 350541 w 1611684"/>
              <a:gd name="connsiteY1" fmla="*/ 0 h 1402165"/>
              <a:gd name="connsiteX2" fmla="*/ 1261143 w 1611684"/>
              <a:gd name="connsiteY2" fmla="*/ 0 h 1402165"/>
              <a:gd name="connsiteX3" fmla="*/ 1611684 w 1611684"/>
              <a:gd name="connsiteY3" fmla="*/ 701083 h 1402165"/>
              <a:gd name="connsiteX4" fmla="*/ 1261143 w 1611684"/>
              <a:gd name="connsiteY4" fmla="*/ 1402165 h 1402165"/>
              <a:gd name="connsiteX5" fmla="*/ 350541 w 1611684"/>
              <a:gd name="connsiteY5" fmla="*/ 1402165 h 1402165"/>
              <a:gd name="connsiteX6" fmla="*/ 0 w 1611684"/>
              <a:gd name="connsiteY6" fmla="*/ 701083 h 1402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1684" h="1402165">
                <a:moveTo>
                  <a:pt x="805841" y="0"/>
                </a:moveTo>
                <a:lnTo>
                  <a:pt x="1611683" y="304971"/>
                </a:lnTo>
                <a:lnTo>
                  <a:pt x="1611683" y="1097194"/>
                </a:lnTo>
                <a:lnTo>
                  <a:pt x="805841" y="1402165"/>
                </a:lnTo>
                <a:lnTo>
                  <a:pt x="1" y="1097194"/>
                </a:lnTo>
                <a:lnTo>
                  <a:pt x="1" y="304971"/>
                </a:lnTo>
                <a:lnTo>
                  <a:pt x="805841" y="0"/>
                </a:lnTo>
                <a:close/>
              </a:path>
            </a:pathLst>
          </a:custGeom>
          <a:solidFill>
            <a:schemeClr val="accent6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83274" tIns="315925" rIns="283275" bIns="315924" numCol="1" spcCol="1270" anchor="ctr" anchorCtr="0">
            <a:noAutofit/>
          </a:bodyPr>
          <a:lstStyle/>
          <a:p>
            <a:pPr marL="0" lvl="0" indent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400" kern="1200" dirty="0"/>
              <a:t>Open Acces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966F573-4C28-40BD-B479-9944B047C39C}"/>
              </a:ext>
            </a:extLst>
          </p:cNvPr>
          <p:cNvSpPr/>
          <p:nvPr/>
        </p:nvSpPr>
        <p:spPr>
          <a:xfrm>
            <a:off x="4513243" y="1935044"/>
            <a:ext cx="2027687" cy="1090154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9FF88DF-7214-4487-9E71-1E420EB885F5}"/>
              </a:ext>
            </a:extLst>
          </p:cNvPr>
          <p:cNvSpPr/>
          <p:nvPr/>
        </p:nvSpPr>
        <p:spPr>
          <a:xfrm>
            <a:off x="1177367" y="1571659"/>
            <a:ext cx="1580725" cy="1816926"/>
          </a:xfrm>
          <a:custGeom>
            <a:avLst/>
            <a:gdLst>
              <a:gd name="connsiteX0" fmla="*/ 0 w 1611684"/>
              <a:gd name="connsiteY0" fmla="*/ 701083 h 1402165"/>
              <a:gd name="connsiteX1" fmla="*/ 350541 w 1611684"/>
              <a:gd name="connsiteY1" fmla="*/ 0 h 1402165"/>
              <a:gd name="connsiteX2" fmla="*/ 1261143 w 1611684"/>
              <a:gd name="connsiteY2" fmla="*/ 0 h 1402165"/>
              <a:gd name="connsiteX3" fmla="*/ 1611684 w 1611684"/>
              <a:gd name="connsiteY3" fmla="*/ 701083 h 1402165"/>
              <a:gd name="connsiteX4" fmla="*/ 1261143 w 1611684"/>
              <a:gd name="connsiteY4" fmla="*/ 1402165 h 1402165"/>
              <a:gd name="connsiteX5" fmla="*/ 350541 w 1611684"/>
              <a:gd name="connsiteY5" fmla="*/ 1402165 h 1402165"/>
              <a:gd name="connsiteX6" fmla="*/ 0 w 1611684"/>
              <a:gd name="connsiteY6" fmla="*/ 701083 h 1402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1684" h="1402165">
                <a:moveTo>
                  <a:pt x="805841" y="0"/>
                </a:moveTo>
                <a:lnTo>
                  <a:pt x="1611683" y="304971"/>
                </a:lnTo>
                <a:lnTo>
                  <a:pt x="1611683" y="1097194"/>
                </a:lnTo>
                <a:lnTo>
                  <a:pt x="805841" y="1402165"/>
                </a:lnTo>
                <a:lnTo>
                  <a:pt x="1" y="1097194"/>
                </a:lnTo>
                <a:lnTo>
                  <a:pt x="1" y="304971"/>
                </a:lnTo>
                <a:lnTo>
                  <a:pt x="805841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8504" tIns="251155" rIns="218505" bIns="251154" numCol="1" spcCol="1270" anchor="ctr" anchorCtr="0">
            <a:noAutofit/>
          </a:bodyPr>
          <a:lstStyle/>
          <a:p>
            <a:pPr marL="0" lvl="0" indent="0"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3400" kern="1200" dirty="0"/>
              <a:t>Open Data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6C315234-2535-4241-A87C-434F54A5987C}"/>
              </a:ext>
            </a:extLst>
          </p:cNvPr>
          <p:cNvSpPr/>
          <p:nvPr/>
        </p:nvSpPr>
        <p:spPr>
          <a:xfrm>
            <a:off x="2027688" y="3113865"/>
            <a:ext cx="1580725" cy="1816926"/>
          </a:xfrm>
          <a:custGeom>
            <a:avLst/>
            <a:gdLst>
              <a:gd name="connsiteX0" fmla="*/ 0 w 1611684"/>
              <a:gd name="connsiteY0" fmla="*/ 701083 h 1402165"/>
              <a:gd name="connsiteX1" fmla="*/ 350541 w 1611684"/>
              <a:gd name="connsiteY1" fmla="*/ 0 h 1402165"/>
              <a:gd name="connsiteX2" fmla="*/ 1261143 w 1611684"/>
              <a:gd name="connsiteY2" fmla="*/ 0 h 1402165"/>
              <a:gd name="connsiteX3" fmla="*/ 1611684 w 1611684"/>
              <a:gd name="connsiteY3" fmla="*/ 701083 h 1402165"/>
              <a:gd name="connsiteX4" fmla="*/ 1261143 w 1611684"/>
              <a:gd name="connsiteY4" fmla="*/ 1402165 h 1402165"/>
              <a:gd name="connsiteX5" fmla="*/ 350541 w 1611684"/>
              <a:gd name="connsiteY5" fmla="*/ 1402165 h 1402165"/>
              <a:gd name="connsiteX6" fmla="*/ 0 w 1611684"/>
              <a:gd name="connsiteY6" fmla="*/ 701083 h 1402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1684" h="1402165">
                <a:moveTo>
                  <a:pt x="805841" y="0"/>
                </a:moveTo>
                <a:lnTo>
                  <a:pt x="1611683" y="304971"/>
                </a:lnTo>
                <a:lnTo>
                  <a:pt x="1611683" y="1097194"/>
                </a:lnTo>
                <a:lnTo>
                  <a:pt x="805841" y="1402165"/>
                </a:lnTo>
                <a:lnTo>
                  <a:pt x="1" y="1097194"/>
                </a:lnTo>
                <a:lnTo>
                  <a:pt x="1" y="304971"/>
                </a:lnTo>
                <a:lnTo>
                  <a:pt x="805841" y="0"/>
                </a:lnTo>
                <a:close/>
              </a:path>
            </a:pathLst>
          </a:custGeom>
          <a:solidFill>
            <a:schemeClr val="accent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83274" tIns="315925" rIns="283275" bIns="315924" numCol="1" spcCol="1270" anchor="ctr" anchorCtr="0">
            <a:noAutofit/>
          </a:bodyPr>
          <a:lstStyle/>
          <a:p>
            <a:pPr marL="0" lvl="0" indent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700" kern="1200" dirty="0"/>
              <a:t>Open Method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3AF670E-74D2-4596-A5D0-142E987BE6E2}"/>
              </a:ext>
            </a:extLst>
          </p:cNvPr>
          <p:cNvSpPr/>
          <p:nvPr/>
        </p:nvSpPr>
        <p:spPr>
          <a:xfrm>
            <a:off x="0" y="3477250"/>
            <a:ext cx="1962279" cy="1090154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46AC2B85-DA87-48C7-96FD-EFFBFACDC379}"/>
              </a:ext>
            </a:extLst>
          </p:cNvPr>
          <p:cNvSpPr/>
          <p:nvPr/>
        </p:nvSpPr>
        <p:spPr>
          <a:xfrm>
            <a:off x="3734872" y="3113865"/>
            <a:ext cx="1580725" cy="1816926"/>
          </a:xfrm>
          <a:custGeom>
            <a:avLst/>
            <a:gdLst>
              <a:gd name="connsiteX0" fmla="*/ 0 w 1611684"/>
              <a:gd name="connsiteY0" fmla="*/ 701083 h 1402165"/>
              <a:gd name="connsiteX1" fmla="*/ 350541 w 1611684"/>
              <a:gd name="connsiteY1" fmla="*/ 0 h 1402165"/>
              <a:gd name="connsiteX2" fmla="*/ 1261143 w 1611684"/>
              <a:gd name="connsiteY2" fmla="*/ 0 h 1402165"/>
              <a:gd name="connsiteX3" fmla="*/ 1611684 w 1611684"/>
              <a:gd name="connsiteY3" fmla="*/ 701083 h 1402165"/>
              <a:gd name="connsiteX4" fmla="*/ 1261143 w 1611684"/>
              <a:gd name="connsiteY4" fmla="*/ 1402165 h 1402165"/>
              <a:gd name="connsiteX5" fmla="*/ 350541 w 1611684"/>
              <a:gd name="connsiteY5" fmla="*/ 1402165 h 1402165"/>
              <a:gd name="connsiteX6" fmla="*/ 0 w 1611684"/>
              <a:gd name="connsiteY6" fmla="*/ 701083 h 1402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1684" h="1402165">
                <a:moveTo>
                  <a:pt x="805841" y="0"/>
                </a:moveTo>
                <a:lnTo>
                  <a:pt x="1611683" y="304971"/>
                </a:lnTo>
                <a:lnTo>
                  <a:pt x="1611683" y="1097194"/>
                </a:lnTo>
                <a:lnTo>
                  <a:pt x="805841" y="1402165"/>
                </a:lnTo>
                <a:lnTo>
                  <a:pt x="1" y="1097194"/>
                </a:lnTo>
                <a:lnTo>
                  <a:pt x="1" y="304971"/>
                </a:lnTo>
                <a:lnTo>
                  <a:pt x="805841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8504" tIns="251155" rIns="218505" bIns="251154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400" kern="1200" dirty="0"/>
              <a:t>Open Proces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7EFBD30-66F5-4D10-89FA-A2E06D04490B}"/>
              </a:ext>
            </a:extLst>
          </p:cNvPr>
          <p:cNvSpPr/>
          <p:nvPr/>
        </p:nvSpPr>
        <p:spPr>
          <a:xfrm>
            <a:off x="2884550" y="4656071"/>
            <a:ext cx="1580725" cy="1816926"/>
          </a:xfrm>
          <a:custGeom>
            <a:avLst/>
            <a:gdLst>
              <a:gd name="connsiteX0" fmla="*/ 0 w 1611684"/>
              <a:gd name="connsiteY0" fmla="*/ 701083 h 1402165"/>
              <a:gd name="connsiteX1" fmla="*/ 350541 w 1611684"/>
              <a:gd name="connsiteY1" fmla="*/ 0 h 1402165"/>
              <a:gd name="connsiteX2" fmla="*/ 1261143 w 1611684"/>
              <a:gd name="connsiteY2" fmla="*/ 0 h 1402165"/>
              <a:gd name="connsiteX3" fmla="*/ 1611684 w 1611684"/>
              <a:gd name="connsiteY3" fmla="*/ 701083 h 1402165"/>
              <a:gd name="connsiteX4" fmla="*/ 1261143 w 1611684"/>
              <a:gd name="connsiteY4" fmla="*/ 1402165 h 1402165"/>
              <a:gd name="connsiteX5" fmla="*/ 350541 w 1611684"/>
              <a:gd name="connsiteY5" fmla="*/ 1402165 h 1402165"/>
              <a:gd name="connsiteX6" fmla="*/ 0 w 1611684"/>
              <a:gd name="connsiteY6" fmla="*/ 701083 h 1402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1684" h="1402165">
                <a:moveTo>
                  <a:pt x="805841" y="0"/>
                </a:moveTo>
                <a:lnTo>
                  <a:pt x="1611683" y="304971"/>
                </a:lnTo>
                <a:lnTo>
                  <a:pt x="1611683" y="1097194"/>
                </a:lnTo>
                <a:lnTo>
                  <a:pt x="805841" y="1402165"/>
                </a:lnTo>
                <a:lnTo>
                  <a:pt x="1" y="1097194"/>
                </a:lnTo>
                <a:lnTo>
                  <a:pt x="1" y="304971"/>
                </a:lnTo>
                <a:lnTo>
                  <a:pt x="805841" y="0"/>
                </a:lnTo>
                <a:close/>
              </a:path>
            </a:pathLst>
          </a:custGeom>
          <a:solidFill>
            <a:schemeClr val="tx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83274" tIns="315925" rIns="283275" bIns="315924" numCol="1" spcCol="1270" anchor="ctr" anchorCtr="0">
            <a:noAutofit/>
          </a:bodyPr>
          <a:lstStyle/>
          <a:p>
            <a:pPr marL="0" lvl="0" indent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200" kern="1200" dirty="0"/>
              <a:t>Open Sour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1B7CA4-B34C-43B2-B110-09B4495B864C}"/>
              </a:ext>
            </a:extLst>
          </p:cNvPr>
          <p:cNvSpPr/>
          <p:nvPr/>
        </p:nvSpPr>
        <p:spPr>
          <a:xfrm>
            <a:off x="4513243" y="5019457"/>
            <a:ext cx="2027687" cy="1090154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EF4E061-5D0C-4D08-9FDE-0E84553BE16E}"/>
              </a:ext>
            </a:extLst>
          </p:cNvPr>
          <p:cNvSpPr/>
          <p:nvPr/>
        </p:nvSpPr>
        <p:spPr>
          <a:xfrm>
            <a:off x="1177367" y="4656071"/>
            <a:ext cx="1580725" cy="1816926"/>
          </a:xfrm>
          <a:custGeom>
            <a:avLst/>
            <a:gdLst>
              <a:gd name="connsiteX0" fmla="*/ 0 w 1611684"/>
              <a:gd name="connsiteY0" fmla="*/ 701083 h 1402165"/>
              <a:gd name="connsiteX1" fmla="*/ 350541 w 1611684"/>
              <a:gd name="connsiteY1" fmla="*/ 0 h 1402165"/>
              <a:gd name="connsiteX2" fmla="*/ 1261143 w 1611684"/>
              <a:gd name="connsiteY2" fmla="*/ 0 h 1402165"/>
              <a:gd name="connsiteX3" fmla="*/ 1611684 w 1611684"/>
              <a:gd name="connsiteY3" fmla="*/ 701083 h 1402165"/>
              <a:gd name="connsiteX4" fmla="*/ 1261143 w 1611684"/>
              <a:gd name="connsiteY4" fmla="*/ 1402165 h 1402165"/>
              <a:gd name="connsiteX5" fmla="*/ 350541 w 1611684"/>
              <a:gd name="connsiteY5" fmla="*/ 1402165 h 1402165"/>
              <a:gd name="connsiteX6" fmla="*/ 0 w 1611684"/>
              <a:gd name="connsiteY6" fmla="*/ 701083 h 1402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1684" h="1402165">
                <a:moveTo>
                  <a:pt x="805841" y="0"/>
                </a:moveTo>
                <a:lnTo>
                  <a:pt x="1611683" y="304971"/>
                </a:lnTo>
                <a:lnTo>
                  <a:pt x="1611683" y="1097194"/>
                </a:lnTo>
                <a:lnTo>
                  <a:pt x="805841" y="1402165"/>
                </a:lnTo>
                <a:lnTo>
                  <a:pt x="1" y="1097194"/>
                </a:lnTo>
                <a:lnTo>
                  <a:pt x="1" y="304971"/>
                </a:lnTo>
                <a:lnTo>
                  <a:pt x="805841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8504" tIns="251155" rIns="218505" bIns="251154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kern="1200" dirty="0"/>
              <a:t>Open Education</a:t>
            </a:r>
          </a:p>
        </p:txBody>
      </p:sp>
      <p:pic>
        <p:nvPicPr>
          <p:cNvPr id="16" name="Picture 55" descr="image">
            <a:extLst>
              <a:ext uri="{FF2B5EF4-FFF2-40B4-BE49-F238E27FC236}">
                <a16:creationId xmlns:a16="http://schemas.microsoft.com/office/drawing/2014/main" id="{4D626C45-DCCC-4EC1-831F-B26CE7D090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Camera 2">
            <a:extLst>
              <a:ext uri="{FF2B5EF4-FFF2-40B4-BE49-F238E27FC236}">
                <a16:creationId xmlns:a16="http://schemas.microsoft.com/office/drawing/2014/main" id="{F2DAAD06-B052-5ED2-B547-67F9CC39B212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4211852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1" grpId="0" animBg="1"/>
      <p:bldP spid="12" grpId="0" animBg="1"/>
      <p:bldP spid="1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1FF8B3-C36F-42FE-A358-53A4FE6A2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y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0EBF4D-958C-4FF8-B008-33765EF001E4}"/>
              </a:ext>
            </a:extLst>
          </p:cNvPr>
          <p:cNvSpPr/>
          <p:nvPr/>
        </p:nvSpPr>
        <p:spPr>
          <a:xfrm>
            <a:off x="480391" y="1535043"/>
            <a:ext cx="5324061" cy="3086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en-US" sz="2200" i="1" dirty="0">
                <a:solidFill>
                  <a:srgbClr val="544E4C"/>
                </a:solidFill>
                <a:cs typeface="Trebuchet MS" pitchFamily="34" charset="0"/>
              </a:rPr>
              <a:t>“We believe that the move towards openness will lead to increased </a:t>
            </a:r>
            <a:r>
              <a:rPr lang="en-US" altLang="en-US" sz="2200" b="1" i="1" dirty="0">
                <a:solidFill>
                  <a:schemeClr val="accent2"/>
                </a:solidFill>
                <a:cs typeface="Trebuchet MS" pitchFamily="34" charset="0"/>
              </a:rPr>
              <a:t>transparency</a:t>
            </a:r>
            <a:r>
              <a:rPr lang="en-US" altLang="en-US" sz="2200" i="1" dirty="0">
                <a:solidFill>
                  <a:srgbClr val="544E4C"/>
                </a:solidFill>
                <a:cs typeface="Trebuchet MS" pitchFamily="34" charset="0"/>
              </a:rPr>
              <a:t>, better </a:t>
            </a:r>
            <a:r>
              <a:rPr lang="en-US" altLang="en-US" sz="2200" b="1" i="1" dirty="0">
                <a:solidFill>
                  <a:schemeClr val="accent2"/>
                </a:solidFill>
                <a:cs typeface="Trebuchet MS" pitchFamily="34" charset="0"/>
              </a:rPr>
              <a:t>quality</a:t>
            </a:r>
            <a:r>
              <a:rPr lang="en-US" altLang="en-US" sz="2200" i="1" dirty="0">
                <a:solidFill>
                  <a:srgbClr val="544E4C"/>
                </a:solidFill>
                <a:cs typeface="Trebuchet MS" pitchFamily="34" charset="0"/>
              </a:rPr>
              <a:t> research, a higher level of </a:t>
            </a:r>
            <a:r>
              <a:rPr lang="en-US" altLang="en-US" sz="2200" b="1" i="1" dirty="0">
                <a:solidFill>
                  <a:schemeClr val="accent2"/>
                </a:solidFill>
                <a:cs typeface="Trebuchet MS" pitchFamily="34" charset="0"/>
              </a:rPr>
              <a:t>citizen engagement</a:t>
            </a:r>
            <a:r>
              <a:rPr lang="en-US" altLang="en-US" sz="2200" i="1" dirty="0">
                <a:solidFill>
                  <a:srgbClr val="544E4C"/>
                </a:solidFill>
                <a:cs typeface="Trebuchet MS" pitchFamily="34" charset="0"/>
              </a:rPr>
              <a:t>, and will </a:t>
            </a:r>
            <a:r>
              <a:rPr lang="en-US" altLang="en-US" sz="2200" b="1" i="1" dirty="0">
                <a:solidFill>
                  <a:schemeClr val="accent2"/>
                </a:solidFill>
                <a:cs typeface="Trebuchet MS" pitchFamily="34" charset="0"/>
              </a:rPr>
              <a:t>accelerate</a:t>
            </a:r>
            <a:r>
              <a:rPr lang="en-US" altLang="en-US" sz="2200" i="1" dirty="0">
                <a:solidFill>
                  <a:srgbClr val="544E4C"/>
                </a:solidFill>
                <a:cs typeface="Trebuchet MS" pitchFamily="34" charset="0"/>
              </a:rPr>
              <a:t> the pace of </a:t>
            </a:r>
            <a:r>
              <a:rPr lang="en-US" altLang="en-US" sz="2200" b="1" i="1" dirty="0">
                <a:solidFill>
                  <a:schemeClr val="accent2"/>
                </a:solidFill>
                <a:cs typeface="Trebuchet MS" pitchFamily="34" charset="0"/>
              </a:rPr>
              <a:t>scientific discovery </a:t>
            </a:r>
            <a:r>
              <a:rPr lang="en-US" altLang="en-US" sz="2200" i="1" dirty="0">
                <a:solidFill>
                  <a:srgbClr val="544E4C"/>
                </a:solidFill>
                <a:cs typeface="Trebuchet MS" pitchFamily="34" charset="0"/>
              </a:rPr>
              <a:t>through the facilitation of data-driven innovation.”</a:t>
            </a:r>
          </a:p>
        </p:txBody>
      </p:sp>
      <p:pic>
        <p:nvPicPr>
          <p:cNvPr id="4098" name="Picture 2" descr="Image result for liber librares">
            <a:extLst>
              <a:ext uri="{FF2B5EF4-FFF2-40B4-BE49-F238E27FC236}">
                <a16:creationId xmlns:a16="http://schemas.microsoft.com/office/drawing/2014/main" id="{EE5638EF-6DEC-4923-BC41-4E509E2C6C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391" y="5004904"/>
            <a:ext cx="4762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5" descr="image">
            <a:extLst>
              <a:ext uri="{FF2B5EF4-FFF2-40B4-BE49-F238E27FC236}">
                <a16:creationId xmlns:a16="http://schemas.microsoft.com/office/drawing/2014/main" id="{E9782DC6-82A0-4CED-AFC2-66A19655E6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Camera 2">
            <a:extLst>
              <a:ext uri="{FF2B5EF4-FFF2-40B4-BE49-F238E27FC236}">
                <a16:creationId xmlns:a16="http://schemas.microsoft.com/office/drawing/2014/main" id="{19E38BD3-15EA-A9EE-F187-57AB2BC232B7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508129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16CB07-FF61-4AAA-92F0-349E98987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dress replication cri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F0FE6C-77B3-43C9-9D8C-B3F1403C5B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2053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GB" i="1" dirty="0"/>
              <a:t>Nature </a:t>
            </a:r>
            <a:r>
              <a:rPr lang="en-GB" dirty="0"/>
              <a:t>survey: is there a </a:t>
            </a:r>
            <a:br>
              <a:rPr lang="en-GB" dirty="0"/>
            </a:br>
            <a:r>
              <a:rPr lang="en-GB" dirty="0"/>
              <a:t>reproducibility crisis?</a:t>
            </a:r>
            <a:endParaRPr lang="en-GB" i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758BB5-8636-4814-89F1-D4C07ECBDE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2543175"/>
            <a:ext cx="6648450" cy="4314825"/>
          </a:xfrm>
          <a:prstGeom prst="rect">
            <a:avLst/>
          </a:prstGeom>
        </p:spPr>
      </p:pic>
      <p:pic>
        <p:nvPicPr>
          <p:cNvPr id="6" name="Picture 55" descr="image">
            <a:extLst>
              <a:ext uri="{FF2B5EF4-FFF2-40B4-BE49-F238E27FC236}">
                <a16:creationId xmlns:a16="http://schemas.microsoft.com/office/drawing/2014/main" id="{96BB345F-D913-417B-8957-8E700669EB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Camera 3">
            <a:extLst>
              <a:ext uri="{FF2B5EF4-FFF2-40B4-BE49-F238E27FC236}">
                <a16:creationId xmlns:a16="http://schemas.microsoft.com/office/drawing/2014/main" id="{C404E0A4-0BD7-17F0-F4D0-19465A9B6772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614040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CDEEDD-ECE0-104D-B85A-D66DE2435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timating the reproducibility</a:t>
            </a:r>
            <a:br>
              <a:rPr lang="en-US" dirty="0"/>
            </a:br>
            <a:r>
              <a:rPr lang="en-US" dirty="0"/>
              <a:t>of psychological scie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2AC3FF-4036-95F8-52EB-95384BF290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F976C2A-73A9-3187-0E48-FDA00BDF5A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57" r="23484"/>
          <a:stretch/>
        </p:blipFill>
        <p:spPr bwMode="auto">
          <a:xfrm>
            <a:off x="838200" y="1690688"/>
            <a:ext cx="5139519" cy="4108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Camera 3">
            <a:extLst>
              <a:ext uri="{FF2B5EF4-FFF2-40B4-BE49-F238E27FC236}">
                <a16:creationId xmlns:a16="http://schemas.microsoft.com/office/drawing/2014/main" id="{51C159C3-2964-3517-5756-6BEB74EA0932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pic>
        <p:nvPicPr>
          <p:cNvPr id="5" name="Picture 55" descr="image">
            <a:extLst>
              <a:ext uri="{FF2B5EF4-FFF2-40B4-BE49-F238E27FC236}">
                <a16:creationId xmlns:a16="http://schemas.microsoft.com/office/drawing/2014/main" id="{D0B74C8E-79F9-F206-FCD2-1A52163D73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22088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E365E8-54A4-4EC1-A74A-DF1F88F53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berate knowled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464752-8FD7-4DE1-BC40-7F6E2DFB4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99590" y="1487729"/>
            <a:ext cx="4989445" cy="5005146"/>
          </a:xfrm>
        </p:spPr>
        <p:txBody>
          <a:bodyPr>
            <a:normAutofit fontScale="70000" lnSpcReduction="20000"/>
          </a:bodyPr>
          <a:lstStyle/>
          <a:p>
            <a:r>
              <a:rPr lang="en-GB" dirty="0"/>
              <a:t>Libraries or researchers need to subscribe to expensive journals</a:t>
            </a:r>
          </a:p>
          <a:p>
            <a:pPr lvl="1"/>
            <a:r>
              <a:rPr lang="en-GB" dirty="0"/>
              <a:t>Especially for-profit journals</a:t>
            </a:r>
          </a:p>
          <a:p>
            <a:pPr lvl="1"/>
            <a:r>
              <a:rPr lang="en-GB" dirty="0"/>
              <a:t>UK libraries pay GBP 200m per year</a:t>
            </a:r>
          </a:p>
          <a:p>
            <a:endParaRPr lang="en-GB" sz="1000" dirty="0"/>
          </a:p>
          <a:p>
            <a:r>
              <a:rPr lang="en-GB" dirty="0"/>
              <a:t>Most of the work is done for free* (research, writing, peer-reviewing), leading to healthy profits (38% for Elsevier in 2018, 23% for Nature)</a:t>
            </a:r>
          </a:p>
          <a:p>
            <a:endParaRPr lang="en-GB" sz="1000" dirty="0"/>
          </a:p>
          <a:p>
            <a:r>
              <a:rPr lang="en-GB" dirty="0"/>
              <a:t>Journals need to sell subscriptions, favouring “exciting” articles</a:t>
            </a:r>
          </a:p>
          <a:p>
            <a:endParaRPr lang="en-GB" sz="1000" dirty="0"/>
          </a:p>
          <a:p>
            <a:r>
              <a:rPr lang="en-GB" dirty="0"/>
              <a:t>Alternatives:</a:t>
            </a:r>
          </a:p>
          <a:p>
            <a:pPr lvl="1"/>
            <a:r>
              <a:rPr lang="en-GB" dirty="0"/>
              <a:t>Publishing charges</a:t>
            </a:r>
          </a:p>
          <a:p>
            <a:pPr lvl="2"/>
            <a:r>
              <a:rPr lang="en-GB" dirty="0"/>
              <a:t>“Predatory” publishers</a:t>
            </a:r>
          </a:p>
          <a:p>
            <a:pPr lvl="1"/>
            <a:r>
              <a:rPr lang="en-GB" dirty="0"/>
              <a:t>“New” journal models</a:t>
            </a:r>
          </a:p>
          <a:p>
            <a:pPr lvl="2"/>
            <a:r>
              <a:rPr lang="en-GB" dirty="0"/>
              <a:t>E.g., </a:t>
            </a:r>
            <a:r>
              <a:rPr lang="en-GB" dirty="0" err="1"/>
              <a:t>PsychOpen</a:t>
            </a:r>
            <a:endParaRPr lang="en-GB" dirty="0"/>
          </a:p>
          <a:p>
            <a:pPr lvl="1"/>
            <a:r>
              <a:rPr lang="en-GB" dirty="0"/>
              <a:t>Self-archiving (after embargo period)</a:t>
            </a:r>
          </a:p>
          <a:p>
            <a:pPr lvl="2"/>
            <a:r>
              <a:rPr lang="en-GB" i="1" dirty="0"/>
              <a:t>Open Access Button</a:t>
            </a:r>
          </a:p>
        </p:txBody>
      </p:sp>
      <p:pic>
        <p:nvPicPr>
          <p:cNvPr id="4" name="Picture 6" descr="http://upload.wikimedia.org/wikipedia/commons/thumb/2/25/Open_Access_logo_PLoS_white.svg/150px-Open_Access_logo_PLoS_white.svg.png">
            <a:extLst>
              <a:ext uri="{FF2B5EF4-FFF2-40B4-BE49-F238E27FC236}">
                <a16:creationId xmlns:a16="http://schemas.microsoft.com/office/drawing/2014/main" id="{92950A6C-479C-4169-9E42-C284E15C39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59121" y="1487730"/>
            <a:ext cx="1244574" cy="1941270"/>
          </a:xfrm>
          <a:prstGeom prst="rect">
            <a:avLst/>
          </a:prstGeom>
          <a:noFill/>
        </p:spPr>
      </p:pic>
      <p:pic>
        <p:nvPicPr>
          <p:cNvPr id="5" name="Picture 55" descr="image">
            <a:extLst>
              <a:ext uri="{FF2B5EF4-FFF2-40B4-BE49-F238E27FC236}">
                <a16:creationId xmlns:a16="http://schemas.microsoft.com/office/drawing/2014/main" id="{33F9CB16-D46F-4522-A349-0B29B1BA21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8089CA2-DA04-4F19-8FE3-309149528924}"/>
              </a:ext>
            </a:extLst>
          </p:cNvPr>
          <p:cNvSpPr txBox="1">
            <a:spLocks/>
          </p:cNvSpPr>
          <p:nvPr/>
        </p:nvSpPr>
        <p:spPr>
          <a:xfrm>
            <a:off x="378156" y="3549088"/>
            <a:ext cx="1457467" cy="536750"/>
          </a:xfrm>
          <a:prstGeom prst="rect">
            <a:avLst/>
          </a:prstGeom>
        </p:spPr>
        <p:txBody>
          <a:bodyPr vert="horz" lIns="91440" tIns="45720" rIns="91440" bIns="45720" rtlCol="0">
            <a:normAutofit fontScale="40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i="1" dirty="0">
                <a:solidFill>
                  <a:schemeClr val="accent2"/>
                </a:solidFill>
              </a:rPr>
              <a:t>* That is, paid for by funders, students and tax-payers.</a:t>
            </a:r>
          </a:p>
        </p:txBody>
      </p:sp>
      <p:pic>
        <p:nvPicPr>
          <p:cNvPr id="7" name="Camera 6">
            <a:extLst>
              <a:ext uri="{FF2B5EF4-FFF2-40B4-BE49-F238E27FC236}">
                <a16:creationId xmlns:a16="http://schemas.microsoft.com/office/drawing/2014/main" id="{08AF77FD-6E9B-0815-FFB2-22678FB4046E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634887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64C8B-975C-4BED-AA32-6DB20FD25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berate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9EAE17-91E6-439D-BAEF-7FFBE8C377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77755"/>
            <a:ext cx="10515600" cy="4893228"/>
          </a:xfrm>
        </p:spPr>
        <p:txBody>
          <a:bodyPr>
            <a:normAutofit/>
          </a:bodyPr>
          <a:lstStyle/>
          <a:p>
            <a:r>
              <a:rPr lang="en-GB" dirty="0"/>
              <a:t>Publish data alongside articles</a:t>
            </a:r>
          </a:p>
          <a:p>
            <a:pPr lvl="1"/>
            <a:r>
              <a:rPr lang="en-GB" dirty="0"/>
              <a:t>Required by many top journals</a:t>
            </a:r>
          </a:p>
          <a:p>
            <a:pPr lvl="1"/>
            <a:r>
              <a:rPr lang="en-GB" dirty="0"/>
              <a:t>Allows for reproduction</a:t>
            </a:r>
          </a:p>
          <a:p>
            <a:endParaRPr lang="en-GB" dirty="0"/>
          </a:p>
        </p:txBody>
      </p:sp>
      <p:pic>
        <p:nvPicPr>
          <p:cNvPr id="4" name="Picture 55" descr="image">
            <a:extLst>
              <a:ext uri="{FF2B5EF4-FFF2-40B4-BE49-F238E27FC236}">
                <a16:creationId xmlns:a16="http://schemas.microsoft.com/office/drawing/2014/main" id="{80B0F4A7-ADC4-4A2C-A55F-1046BF122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903D8AA-D2AD-4CD8-8C48-9D7F43E59CE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027" r="2263"/>
          <a:stretch/>
        </p:blipFill>
        <p:spPr>
          <a:xfrm>
            <a:off x="502921" y="2883068"/>
            <a:ext cx="6609080" cy="34944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5068768-A06A-4CB1-8824-0E79A7CBEC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0257285">
            <a:off x="701039" y="3836243"/>
            <a:ext cx="5770881" cy="174296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Camera 6">
            <a:extLst>
              <a:ext uri="{FF2B5EF4-FFF2-40B4-BE49-F238E27FC236}">
                <a16:creationId xmlns:a16="http://schemas.microsoft.com/office/drawing/2014/main" id="{6B686BF7-9A75-0815-E4DA-FAA8333C457F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363358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59E2F-6A6E-D222-C98B-0C6956B7C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berate dat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55CDFB-64D0-FF8E-0ED8-249CFAA02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492874"/>
            <a:ext cx="10515600" cy="156272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200" dirty="0"/>
              <a:t>Chart: </a:t>
            </a:r>
            <a:r>
              <a:rPr lang="en-US" sz="1200" dirty="0">
                <a:hlinkClick r:id="rId3"/>
              </a:rPr>
              <a:t>economist.com</a:t>
            </a:r>
            <a:r>
              <a:rPr lang="en-US" sz="1200" dirty="0"/>
              <a:t> / original story: </a:t>
            </a:r>
            <a:r>
              <a:rPr lang="en-US" sz="1200" dirty="0">
                <a:hlinkClick r:id="rId4"/>
              </a:rPr>
              <a:t>datacolada.org</a:t>
            </a:r>
            <a:endParaRPr lang="en-US" sz="1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77BC5E-ECBE-C3F1-CD0D-E9B0B239B04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1589"/>
          <a:stretch/>
        </p:blipFill>
        <p:spPr>
          <a:xfrm>
            <a:off x="838200" y="3569323"/>
            <a:ext cx="5085687" cy="258473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FA6C3F8-5F5A-2E88-4F7F-E15F2A60DC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1332113"/>
            <a:ext cx="5085687" cy="20594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3BC8755-10B4-4D0E-FAF4-16CF629F8A21}"/>
              </a:ext>
            </a:extLst>
          </p:cNvPr>
          <p:cNvSpPr/>
          <p:nvPr/>
        </p:nvSpPr>
        <p:spPr>
          <a:xfrm>
            <a:off x="838200" y="3043451"/>
            <a:ext cx="3583675" cy="3855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55" descr="image">
            <a:extLst>
              <a:ext uri="{FF2B5EF4-FFF2-40B4-BE49-F238E27FC236}">
                <a16:creationId xmlns:a16="http://schemas.microsoft.com/office/drawing/2014/main" id="{3A7AC54C-D0DC-63F7-A73D-16D60491EB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432526-9A3A-CAAE-A08D-A3496E4DC57B}"/>
              </a:ext>
            </a:extLst>
          </p:cNvPr>
          <p:cNvSpPr/>
          <p:nvPr/>
        </p:nvSpPr>
        <p:spPr>
          <a:xfrm>
            <a:off x="838200" y="3569323"/>
            <a:ext cx="2500086" cy="2584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Camera 8">
            <a:extLst>
              <a:ext uri="{FF2B5EF4-FFF2-40B4-BE49-F238E27FC236}">
                <a16:creationId xmlns:a16="http://schemas.microsoft.com/office/drawing/2014/main" id="{5DA14974-5AAE-F7AE-A46B-6E4AD8D2E136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078469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 animBg="1"/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2|28.3|5.4|2.7|8.3|9.8|23.7|13.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7|4.1|9.1|11.8|8|3.7|4.6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406</TotalTime>
  <Words>1245</Words>
  <Application>Microsoft Macintosh PowerPoint</Application>
  <PresentationFormat>Widescreen</PresentationFormat>
  <Paragraphs>175</Paragraphs>
  <Slides>2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Calibri</vt:lpstr>
      <vt:lpstr>Calibri Light</vt:lpstr>
      <vt:lpstr>Georgia</vt:lpstr>
      <vt:lpstr>Times New Roman</vt:lpstr>
      <vt:lpstr>Office Theme</vt:lpstr>
      <vt:lpstr>think-cell Slide</vt:lpstr>
      <vt:lpstr>PowerPoint Presentation</vt:lpstr>
      <vt:lpstr>Open Science</vt:lpstr>
      <vt:lpstr>Not just about Open Access</vt:lpstr>
      <vt:lpstr>Why?</vt:lpstr>
      <vt:lpstr>Address replication crisis</vt:lpstr>
      <vt:lpstr>Estimating the reproducibility of psychological science</vt:lpstr>
      <vt:lpstr>Liberate knowledge</vt:lpstr>
      <vt:lpstr>Liberate data</vt:lpstr>
      <vt:lpstr>Liberate data</vt:lpstr>
      <vt:lpstr>Liberate data</vt:lpstr>
      <vt:lpstr>Open qualitative data</vt:lpstr>
      <vt:lpstr>Open methods &amp; open process</vt:lpstr>
      <vt:lpstr>Open methods &amp; open process</vt:lpstr>
      <vt:lpstr>Pre-registrations</vt:lpstr>
      <vt:lpstr>Pre-registrations</vt:lpstr>
      <vt:lpstr>The new ”gold standard”? Registered Reports</vt:lpstr>
      <vt:lpstr>Open Source software</vt:lpstr>
      <vt:lpstr>Open Source software</vt:lpstr>
      <vt:lpstr>Liberate teaching materials</vt:lpstr>
      <vt:lpstr>Liberate teaching materials</vt:lpstr>
      <vt:lpstr>Open Science at Birkbeck</vt:lpstr>
      <vt:lpstr>Get involved with Open Science</vt:lpstr>
      <vt:lpstr>My 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 (Staff)</cp:lastModifiedBy>
  <cp:revision>47</cp:revision>
  <dcterms:created xsi:type="dcterms:W3CDTF">2019-11-07T08:19:14Z</dcterms:created>
  <dcterms:modified xsi:type="dcterms:W3CDTF">2023-02-06T11:04:49Z</dcterms:modified>
</cp:coreProperties>
</file>